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300" r:id="rId5"/>
  </p:sldIdLst>
  <p:sldSz cx="7772400" cy="14630400"/>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
      <p:font typeface="Segoe UI Symbol" panose="020B0502040204020203" pitchFamily="34" charset="0"/>
      <p:regular r:id="rId20"/>
    </p:embeddedFont>
  </p:embeddedFontLst>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300"/>
          </p14:sldIdLst>
        </p14:section>
      </p14:sectionLst>
    </p:ext>
    <p:ext uri="{EFAFB233-063F-42B5-8137-9DF3F51BA10A}">
      <p15:sldGuideLst xmlns:p15="http://schemas.microsoft.com/office/powerpoint/2012/main">
        <p15:guide id="10" pos="168" userDrawn="1">
          <p15:clr>
            <a:srgbClr val="A4A3A4"/>
          </p15:clr>
        </p15:guide>
        <p15:guide id="12" orient="horz" pos="5880" userDrawn="1">
          <p15:clr>
            <a:srgbClr val="A4A3A4"/>
          </p15:clr>
        </p15:guide>
        <p15:guide id="14" pos="4728" userDrawn="1">
          <p15:clr>
            <a:srgbClr val="A4A3A4"/>
          </p15:clr>
        </p15:guide>
        <p15:guide id="20" orient="horz" pos="869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27"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Quincy Kosena" initials="QK" lastIdx="1" clrIdx="19">
    <p:extLst>
      <p:ext uri="{19B8F6BF-5375-455C-9EA6-DF929625EA0E}">
        <p15:presenceInfo xmlns:p15="http://schemas.microsoft.com/office/powerpoint/2012/main" userId="S::quincy@audienz.com::34552e9c-390f-40b5-8a42-f626db2682ad" providerId="AD"/>
      </p:ext>
    </p:extLst>
  </p:cmAuthor>
  <p:cmAuthor id="20" name="Mary Lisa Newman" initials="MLN [2]" lastIdx="2" clrIdx="20">
    <p:extLst>
      <p:ext uri="{19B8F6BF-5375-455C-9EA6-DF929625EA0E}">
        <p15:presenceInfo xmlns:p15="http://schemas.microsoft.com/office/powerpoint/2012/main" userId="S::marylisa@audienz.com::9c8cba21-67a1-4aa9-98ba-c4ca1eda0aa0" providerId="AD"/>
      </p:ext>
    </p:extLst>
  </p:cmAuthor>
  <p:cmAuthor id="21" name="Connor Schmidt" initials="CS" lastIdx="1" clrIdx="21">
    <p:extLst>
      <p:ext uri="{19B8F6BF-5375-455C-9EA6-DF929625EA0E}">
        <p15:presenceInfo xmlns:p15="http://schemas.microsoft.com/office/powerpoint/2012/main" userId="S::Connor@audienz.com::09332ba3-bace-4762-933e-6733a8e21971" providerId="AD"/>
      </p:ext>
    </p:extLst>
  </p:cmAuthor>
  <p:cmAuthor id="22" name="Travis Nesse" initials="TN [2]" lastIdx="2" clrIdx="22">
    <p:extLst>
      <p:ext uri="{19B8F6BF-5375-455C-9EA6-DF929625EA0E}">
        <p15:presenceInfo xmlns:p15="http://schemas.microsoft.com/office/powerpoint/2012/main" userId="S::travis@audienz.com::7f5cd6f3-7534-4332-8f38-a3b44d62a5a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F2F2F2"/>
    <a:srgbClr val="007EE2"/>
    <a:srgbClr val="464646"/>
    <a:srgbClr val="848484"/>
    <a:srgbClr val="005695"/>
    <a:srgbClr val="E6E6E6"/>
    <a:srgbClr val="003D70"/>
    <a:srgbClr val="0078D7"/>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58BD4D-9D96-6946-BCFF-98E01EF0B0C9}" v="1" dt="2020-07-01T23:20:06.744"/>
    <p1510:client id="{F2A00D38-03B9-0577-9291-778989ED202E}" v="63" dt="2020-07-29T23:11:41.9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96327" autoAdjust="0"/>
  </p:normalViewPr>
  <p:slideViewPr>
    <p:cSldViewPr snapToGrid="0" snapToObjects="1">
      <p:cViewPr>
        <p:scale>
          <a:sx n="100" d="100"/>
          <a:sy n="100" d="100"/>
        </p:scale>
        <p:origin x="1584" y="48"/>
      </p:cViewPr>
      <p:guideLst>
        <p:guide pos="168"/>
        <p:guide orient="horz" pos="5880"/>
        <p:guide pos="4728"/>
        <p:guide orient="horz" pos="8692"/>
      </p:guideLst>
    </p:cSldViewPr>
  </p:slideViewPr>
  <p:notesTextViewPr>
    <p:cViewPr>
      <p:scale>
        <a:sx n="3" d="2"/>
        <a:sy n="3" d="2"/>
      </p:scale>
      <p:origin x="0" y="0"/>
    </p:cViewPr>
  </p:notesTextViewPr>
  <p:sorterViewPr>
    <p:cViewPr>
      <p:scale>
        <a:sx n="174" d="100"/>
        <a:sy n="174" d="100"/>
      </p:scale>
      <p:origin x="0" y="0"/>
    </p:cViewPr>
  </p:sorterViewPr>
  <p:notesViewPr>
    <p:cSldViewPr snapToGrid="0" snapToObjects="1">
      <p:cViewPr varScale="1">
        <p:scale>
          <a:sx n="67" d="100"/>
          <a:sy n="67" d="100"/>
        </p:scale>
        <p:origin x="331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avis Nesse" userId="7f5cd6f3-7534-4332-8f38-a3b44d62a5a5" providerId="ADAL" clId="{805E2CE3-1551-4310-ADA7-31B5E533F5D3}"/>
    <pc:docChg chg="undo custSel modSld">
      <pc:chgData name="Travis Nesse" userId="7f5cd6f3-7534-4332-8f38-a3b44d62a5a5" providerId="ADAL" clId="{805E2CE3-1551-4310-ADA7-31B5E533F5D3}" dt="2020-06-25T19:42:11.629" v="321" actId="1036"/>
      <pc:docMkLst>
        <pc:docMk/>
      </pc:docMkLst>
      <pc:sldChg chg="addSp delSp modSp">
        <pc:chgData name="Travis Nesse" userId="7f5cd6f3-7534-4332-8f38-a3b44d62a5a5" providerId="ADAL" clId="{805E2CE3-1551-4310-ADA7-31B5E533F5D3}" dt="2020-06-25T19:42:11.629" v="321" actId="1036"/>
        <pc:sldMkLst>
          <pc:docMk/>
          <pc:sldMk cId="4162287189" sldId="300"/>
        </pc:sldMkLst>
        <pc:spChg chg="add mod ord">
          <ac:chgData name="Travis Nesse" userId="7f5cd6f3-7534-4332-8f38-a3b44d62a5a5" providerId="ADAL" clId="{805E2CE3-1551-4310-ADA7-31B5E533F5D3}" dt="2020-06-25T19:19:01.333" v="137" actId="1035"/>
          <ac:spMkLst>
            <pc:docMk/>
            <pc:sldMk cId="4162287189" sldId="300"/>
            <ac:spMk id="2" creationId="{20AA8DDD-733E-4102-A442-7EC0D027BABB}"/>
          </ac:spMkLst>
        </pc:spChg>
        <pc:spChg chg="add mod ord">
          <ac:chgData name="Travis Nesse" userId="7f5cd6f3-7534-4332-8f38-a3b44d62a5a5" providerId="ADAL" clId="{805E2CE3-1551-4310-ADA7-31B5E533F5D3}" dt="2020-06-25T19:40:02.162" v="260" actId="167"/>
          <ac:spMkLst>
            <pc:docMk/>
            <pc:sldMk cId="4162287189" sldId="300"/>
            <ac:spMk id="4" creationId="{1CCAC096-2405-42DC-93E6-4A875600C51A}"/>
          </ac:spMkLst>
        </pc:spChg>
        <pc:spChg chg="del">
          <ac:chgData name="Travis Nesse" userId="7f5cd6f3-7534-4332-8f38-a3b44d62a5a5" providerId="ADAL" clId="{805E2CE3-1551-4310-ADA7-31B5E533F5D3}" dt="2020-06-25T18:49:51.905" v="24" actId="478"/>
          <ac:spMkLst>
            <pc:docMk/>
            <pc:sldMk cId="4162287189" sldId="300"/>
            <ac:spMk id="60" creationId="{1D9753B3-1E87-48D9-883E-CC9D51379F83}"/>
          </ac:spMkLst>
        </pc:spChg>
        <pc:spChg chg="add mod">
          <ac:chgData name="Travis Nesse" userId="7f5cd6f3-7534-4332-8f38-a3b44d62a5a5" providerId="ADAL" clId="{805E2CE3-1551-4310-ADA7-31B5E533F5D3}" dt="2020-06-25T19:41:40.435" v="292" actId="1035"/>
          <ac:spMkLst>
            <pc:docMk/>
            <pc:sldMk cId="4162287189" sldId="300"/>
            <ac:spMk id="63" creationId="{3428F19F-AD74-4286-BC60-8AA7EF0FFAB3}"/>
          </ac:spMkLst>
        </pc:spChg>
        <pc:spChg chg="add mod">
          <ac:chgData name="Travis Nesse" userId="7f5cd6f3-7534-4332-8f38-a3b44d62a5a5" providerId="ADAL" clId="{805E2CE3-1551-4310-ADA7-31B5E533F5D3}" dt="2020-06-25T19:42:11.629" v="321" actId="1036"/>
          <ac:spMkLst>
            <pc:docMk/>
            <pc:sldMk cId="4162287189" sldId="300"/>
            <ac:spMk id="64" creationId="{9B3314C1-42F9-48A7-94A5-8F79DBBBE59B}"/>
          </ac:spMkLst>
        </pc:spChg>
        <pc:spChg chg="mod ord">
          <ac:chgData name="Travis Nesse" userId="7f5cd6f3-7534-4332-8f38-a3b44d62a5a5" providerId="ADAL" clId="{805E2CE3-1551-4310-ADA7-31B5E533F5D3}" dt="2020-06-25T19:40:07.516" v="262" actId="167"/>
          <ac:spMkLst>
            <pc:docMk/>
            <pc:sldMk cId="4162287189" sldId="300"/>
            <ac:spMk id="85" creationId="{4E99115F-714C-4105-B9CF-03EBD0FBAD26}"/>
          </ac:spMkLst>
        </pc:spChg>
        <pc:spChg chg="mod ord">
          <ac:chgData name="Travis Nesse" userId="7f5cd6f3-7534-4332-8f38-a3b44d62a5a5" providerId="ADAL" clId="{805E2CE3-1551-4310-ADA7-31B5E533F5D3}" dt="2020-06-25T19:40:04.369" v="261" actId="167"/>
          <ac:spMkLst>
            <pc:docMk/>
            <pc:sldMk cId="4162287189" sldId="300"/>
            <ac:spMk id="86" creationId="{EE99E252-4FD8-44E3-AF47-9DF842C2957A}"/>
          </ac:spMkLst>
        </pc:spChg>
        <pc:spChg chg="mod">
          <ac:chgData name="Travis Nesse" userId="7f5cd6f3-7534-4332-8f38-a3b44d62a5a5" providerId="ADAL" clId="{805E2CE3-1551-4310-ADA7-31B5E533F5D3}" dt="2020-06-25T18:48:29.429" v="11" actId="14100"/>
          <ac:spMkLst>
            <pc:docMk/>
            <pc:sldMk cId="4162287189" sldId="300"/>
            <ac:spMk id="88" creationId="{427B512E-D9D9-4385-9F1E-81476FF80B8D}"/>
          </ac:spMkLst>
        </pc:spChg>
        <pc:spChg chg="mod">
          <ac:chgData name="Travis Nesse" userId="7f5cd6f3-7534-4332-8f38-a3b44d62a5a5" providerId="ADAL" clId="{805E2CE3-1551-4310-ADA7-31B5E533F5D3}" dt="2020-06-25T18:59:33.826" v="91" actId="122"/>
          <ac:spMkLst>
            <pc:docMk/>
            <pc:sldMk cId="4162287189" sldId="300"/>
            <ac:spMk id="89" creationId="{D961C2DB-9478-4492-968E-D867CABB5F11}"/>
          </ac:spMkLst>
        </pc:spChg>
        <pc:spChg chg="mod">
          <ac:chgData name="Travis Nesse" userId="7f5cd6f3-7534-4332-8f38-a3b44d62a5a5" providerId="ADAL" clId="{805E2CE3-1551-4310-ADA7-31B5E533F5D3}" dt="2020-06-25T19:42:11.629" v="321" actId="1036"/>
          <ac:spMkLst>
            <pc:docMk/>
            <pc:sldMk cId="4162287189" sldId="300"/>
            <ac:spMk id="90" creationId="{80201CE1-54EE-4786-AC2D-042178A11508}"/>
          </ac:spMkLst>
        </pc:spChg>
        <pc:spChg chg="mod">
          <ac:chgData name="Travis Nesse" userId="7f5cd6f3-7534-4332-8f38-a3b44d62a5a5" providerId="ADAL" clId="{805E2CE3-1551-4310-ADA7-31B5E533F5D3}" dt="2020-06-25T19:40:11.989" v="266" actId="1036"/>
          <ac:spMkLst>
            <pc:docMk/>
            <pc:sldMk cId="4162287189" sldId="300"/>
            <ac:spMk id="148" creationId="{479BE3B4-2862-4572-89F8-B3546D5447BA}"/>
          </ac:spMkLst>
        </pc:spChg>
        <pc:spChg chg="mod">
          <ac:chgData name="Travis Nesse" userId="7f5cd6f3-7534-4332-8f38-a3b44d62a5a5" providerId="ADAL" clId="{805E2CE3-1551-4310-ADA7-31B5E533F5D3}" dt="2020-06-25T19:40:11.989" v="266" actId="1036"/>
          <ac:spMkLst>
            <pc:docMk/>
            <pc:sldMk cId="4162287189" sldId="300"/>
            <ac:spMk id="149" creationId="{715AEE9F-71BE-41D6-B967-76D67F31A006}"/>
          </ac:spMkLst>
        </pc:spChg>
        <pc:spChg chg="mod">
          <ac:chgData name="Travis Nesse" userId="7f5cd6f3-7534-4332-8f38-a3b44d62a5a5" providerId="ADAL" clId="{805E2CE3-1551-4310-ADA7-31B5E533F5D3}" dt="2020-06-25T19:40:11.989" v="266" actId="1036"/>
          <ac:spMkLst>
            <pc:docMk/>
            <pc:sldMk cId="4162287189" sldId="300"/>
            <ac:spMk id="150" creationId="{C844CAF7-71F1-41E1-B586-4053401F8C6C}"/>
          </ac:spMkLst>
        </pc:spChg>
        <pc:spChg chg="mod">
          <ac:chgData name="Travis Nesse" userId="7f5cd6f3-7534-4332-8f38-a3b44d62a5a5" providerId="ADAL" clId="{805E2CE3-1551-4310-ADA7-31B5E533F5D3}" dt="2020-06-25T19:40:11.989" v="266" actId="1036"/>
          <ac:spMkLst>
            <pc:docMk/>
            <pc:sldMk cId="4162287189" sldId="300"/>
            <ac:spMk id="151" creationId="{21A5CEBB-CAA1-4D14-BA87-41B8742592B0}"/>
          </ac:spMkLst>
        </pc:spChg>
        <pc:spChg chg="mod ord">
          <ac:chgData name="Travis Nesse" userId="7f5cd6f3-7534-4332-8f38-a3b44d62a5a5" providerId="ADAL" clId="{805E2CE3-1551-4310-ADA7-31B5E533F5D3}" dt="2020-06-25T19:19:01.333" v="137" actId="1035"/>
          <ac:spMkLst>
            <pc:docMk/>
            <pc:sldMk cId="4162287189" sldId="300"/>
            <ac:spMk id="168" creationId="{3E051E81-C04D-4844-9D84-86C3EA7BEB78}"/>
          </ac:spMkLst>
        </pc:spChg>
        <pc:spChg chg="mod">
          <ac:chgData name="Travis Nesse" userId="7f5cd6f3-7534-4332-8f38-a3b44d62a5a5" providerId="ADAL" clId="{805E2CE3-1551-4310-ADA7-31B5E533F5D3}" dt="2020-06-25T19:19:01.333" v="137" actId="1035"/>
          <ac:spMkLst>
            <pc:docMk/>
            <pc:sldMk cId="4162287189" sldId="300"/>
            <ac:spMk id="169" creationId="{2A9F2EB3-6518-42CF-86C3-4BE0A473D38C}"/>
          </ac:spMkLst>
        </pc:spChg>
        <pc:spChg chg="mod">
          <ac:chgData name="Travis Nesse" userId="7f5cd6f3-7534-4332-8f38-a3b44d62a5a5" providerId="ADAL" clId="{805E2CE3-1551-4310-ADA7-31B5E533F5D3}" dt="2020-06-25T19:19:25.401" v="145" actId="1076"/>
          <ac:spMkLst>
            <pc:docMk/>
            <pc:sldMk cId="4162287189" sldId="300"/>
            <ac:spMk id="170" creationId="{0EA39B23-3B08-4110-BA70-CC402F65B858}"/>
          </ac:spMkLst>
        </pc:spChg>
        <pc:spChg chg="mod">
          <ac:chgData name="Travis Nesse" userId="7f5cd6f3-7534-4332-8f38-a3b44d62a5a5" providerId="ADAL" clId="{805E2CE3-1551-4310-ADA7-31B5E533F5D3}" dt="2020-06-25T19:19:01.333" v="137" actId="1035"/>
          <ac:spMkLst>
            <pc:docMk/>
            <pc:sldMk cId="4162287189" sldId="300"/>
            <ac:spMk id="171" creationId="{CBBA8003-DD0E-4973-B5E2-202604892DF4}"/>
          </ac:spMkLst>
        </pc:spChg>
        <pc:spChg chg="mod">
          <ac:chgData name="Travis Nesse" userId="7f5cd6f3-7534-4332-8f38-a3b44d62a5a5" providerId="ADAL" clId="{805E2CE3-1551-4310-ADA7-31B5E533F5D3}" dt="2020-06-25T19:19:01.333" v="137" actId="1035"/>
          <ac:spMkLst>
            <pc:docMk/>
            <pc:sldMk cId="4162287189" sldId="300"/>
            <ac:spMk id="172" creationId="{6C0E1AC9-EA19-4211-B054-E5A76042BAA1}"/>
          </ac:spMkLst>
        </pc:spChg>
        <pc:spChg chg="mod">
          <ac:chgData name="Travis Nesse" userId="7f5cd6f3-7534-4332-8f38-a3b44d62a5a5" providerId="ADAL" clId="{805E2CE3-1551-4310-ADA7-31B5E533F5D3}" dt="2020-06-25T19:19:58.625" v="213" actId="1035"/>
          <ac:spMkLst>
            <pc:docMk/>
            <pc:sldMk cId="4162287189" sldId="300"/>
            <ac:spMk id="173" creationId="{64937393-D565-4A49-9099-BD3DC7705A2B}"/>
          </ac:spMkLst>
        </pc:spChg>
        <pc:spChg chg="mod">
          <ac:chgData name="Travis Nesse" userId="7f5cd6f3-7534-4332-8f38-a3b44d62a5a5" providerId="ADAL" clId="{805E2CE3-1551-4310-ADA7-31B5E533F5D3}" dt="2020-06-25T19:19:01.333" v="137" actId="1035"/>
          <ac:spMkLst>
            <pc:docMk/>
            <pc:sldMk cId="4162287189" sldId="300"/>
            <ac:spMk id="185" creationId="{E775E18A-AD8F-4EEE-9531-9795DA5763DB}"/>
          </ac:spMkLst>
        </pc:spChg>
        <pc:spChg chg="mod">
          <ac:chgData name="Travis Nesse" userId="7f5cd6f3-7534-4332-8f38-a3b44d62a5a5" providerId="ADAL" clId="{805E2CE3-1551-4310-ADA7-31B5E533F5D3}" dt="2020-06-25T19:19:01.333" v="137" actId="1035"/>
          <ac:spMkLst>
            <pc:docMk/>
            <pc:sldMk cId="4162287189" sldId="300"/>
            <ac:spMk id="186" creationId="{54D0C88B-78F8-41EA-AFFB-52B8B2C51223}"/>
          </ac:spMkLst>
        </pc:spChg>
        <pc:spChg chg="mod">
          <ac:chgData name="Travis Nesse" userId="7f5cd6f3-7534-4332-8f38-a3b44d62a5a5" providerId="ADAL" clId="{805E2CE3-1551-4310-ADA7-31B5E533F5D3}" dt="2020-06-25T19:19:53.742" v="193" actId="1035"/>
          <ac:spMkLst>
            <pc:docMk/>
            <pc:sldMk cId="4162287189" sldId="300"/>
            <ac:spMk id="187" creationId="{3FACE512-B239-451A-8015-4CDB9C57BD44}"/>
          </ac:spMkLst>
        </pc:spChg>
        <pc:spChg chg="mod">
          <ac:chgData name="Travis Nesse" userId="7f5cd6f3-7534-4332-8f38-a3b44d62a5a5" providerId="ADAL" clId="{805E2CE3-1551-4310-ADA7-31B5E533F5D3}" dt="2020-06-25T19:19:28.561" v="146" actId="688"/>
          <ac:spMkLst>
            <pc:docMk/>
            <pc:sldMk cId="4162287189" sldId="300"/>
            <ac:spMk id="188" creationId="{EED8EA67-8100-4F3B-A1A8-39DB236FC7B6}"/>
          </ac:spMkLst>
        </pc:spChg>
        <pc:spChg chg="mod">
          <ac:chgData name="Travis Nesse" userId="7f5cd6f3-7534-4332-8f38-a3b44d62a5a5" providerId="ADAL" clId="{805E2CE3-1551-4310-ADA7-31B5E533F5D3}" dt="2020-06-25T19:19:01.333" v="137" actId="1035"/>
          <ac:spMkLst>
            <pc:docMk/>
            <pc:sldMk cId="4162287189" sldId="300"/>
            <ac:spMk id="189" creationId="{8F0E9563-213D-4F4A-8421-12A864BA0A31}"/>
          </ac:spMkLst>
        </pc:spChg>
        <pc:spChg chg="del">
          <ac:chgData name="Travis Nesse" userId="7f5cd6f3-7534-4332-8f38-a3b44d62a5a5" providerId="ADAL" clId="{805E2CE3-1551-4310-ADA7-31B5E533F5D3}" dt="2020-06-25T18:59:49.628" v="95" actId="478"/>
          <ac:spMkLst>
            <pc:docMk/>
            <pc:sldMk cId="4162287189" sldId="300"/>
            <ac:spMk id="191" creationId="{C1BF028C-3402-4E0E-940E-81621CEBDEAE}"/>
          </ac:spMkLst>
        </pc:spChg>
        <pc:grpChg chg="mod">
          <ac:chgData name="Travis Nesse" userId="7f5cd6f3-7534-4332-8f38-a3b44d62a5a5" providerId="ADAL" clId="{805E2CE3-1551-4310-ADA7-31B5E533F5D3}" dt="2020-06-25T19:40:11.989" v="266" actId="1036"/>
          <ac:grpSpMkLst>
            <pc:docMk/>
            <pc:sldMk cId="4162287189" sldId="300"/>
            <ac:grpSpMk id="152" creationId="{FD9D8A1E-42E8-4919-A7BA-2F639617AA4C}"/>
          </ac:grpSpMkLst>
        </pc:grpChg>
        <pc:grpChg chg="mod">
          <ac:chgData name="Travis Nesse" userId="7f5cd6f3-7534-4332-8f38-a3b44d62a5a5" providerId="ADAL" clId="{805E2CE3-1551-4310-ADA7-31B5E533F5D3}" dt="2020-06-25T19:19:25.401" v="145" actId="1076"/>
          <ac:grpSpMkLst>
            <pc:docMk/>
            <pc:sldMk cId="4162287189" sldId="300"/>
            <ac:grpSpMk id="175" creationId="{E576C1A4-E2FC-4FC8-8EA5-C28CCE1B0A81}"/>
          </ac:grpSpMkLst>
        </pc:grpChg>
        <pc:grpChg chg="mod">
          <ac:chgData name="Travis Nesse" userId="7f5cd6f3-7534-4332-8f38-a3b44d62a5a5" providerId="ADAL" clId="{805E2CE3-1551-4310-ADA7-31B5E533F5D3}" dt="2020-06-25T19:19:58.625" v="213" actId="1035"/>
          <ac:grpSpMkLst>
            <pc:docMk/>
            <pc:sldMk cId="4162287189" sldId="300"/>
            <ac:grpSpMk id="179" creationId="{253DEC34-34D4-40E0-A7E6-2380D0214D60}"/>
          </ac:grpSpMkLst>
        </pc:grpChg>
        <pc:picChg chg="mod">
          <ac:chgData name="Travis Nesse" userId="7f5cd6f3-7534-4332-8f38-a3b44d62a5a5" providerId="ADAL" clId="{805E2CE3-1551-4310-ADA7-31B5E533F5D3}" dt="2020-06-25T19:40:11.989" v="266" actId="1036"/>
          <ac:picMkLst>
            <pc:docMk/>
            <pc:sldMk cId="4162287189" sldId="300"/>
            <ac:picMk id="3" creationId="{809736FD-4FE8-4A58-9418-1FF93F59EFCC}"/>
          </ac:picMkLst>
        </pc:picChg>
        <pc:picChg chg="add mod">
          <ac:chgData name="Travis Nesse" userId="7f5cd6f3-7534-4332-8f38-a3b44d62a5a5" providerId="ADAL" clId="{805E2CE3-1551-4310-ADA7-31B5E533F5D3}" dt="2020-06-25T18:48:01.760" v="4" actId="1076"/>
          <ac:picMkLst>
            <pc:docMk/>
            <pc:sldMk cId="4162287189" sldId="300"/>
            <ac:picMk id="59" creationId="{3A77F869-01A9-45E6-906C-283C019E801B}"/>
          </ac:picMkLst>
        </pc:picChg>
        <pc:picChg chg="add mod ord">
          <ac:chgData name="Travis Nesse" userId="7f5cd6f3-7534-4332-8f38-a3b44d62a5a5" providerId="ADAL" clId="{805E2CE3-1551-4310-ADA7-31B5E533F5D3}" dt="2020-06-25T19:19:01.333" v="137" actId="1035"/>
          <ac:picMkLst>
            <pc:docMk/>
            <pc:sldMk cId="4162287189" sldId="300"/>
            <ac:picMk id="61" creationId="{1DBD6DD2-E9A6-47F8-ACA0-42202E22A691}"/>
          </ac:picMkLst>
        </pc:picChg>
        <pc:picChg chg="mod">
          <ac:chgData name="Travis Nesse" userId="7f5cd6f3-7534-4332-8f38-a3b44d62a5a5" providerId="ADAL" clId="{805E2CE3-1551-4310-ADA7-31B5E533F5D3}" dt="2020-06-25T19:42:11.629" v="321" actId="1036"/>
          <ac:picMkLst>
            <pc:docMk/>
            <pc:sldMk cId="4162287189" sldId="300"/>
            <ac:picMk id="91" creationId="{0DF92A41-F606-4C2D-AD53-1847C176B522}"/>
          </ac:picMkLst>
        </pc:picChg>
        <pc:picChg chg="mod">
          <ac:chgData name="Travis Nesse" userId="7f5cd6f3-7534-4332-8f38-a3b44d62a5a5" providerId="ADAL" clId="{805E2CE3-1551-4310-ADA7-31B5E533F5D3}" dt="2020-06-25T19:40:11.989" v="266" actId="1036"/>
          <ac:picMkLst>
            <pc:docMk/>
            <pc:sldMk cId="4162287189" sldId="300"/>
            <ac:picMk id="93" creationId="{904C546F-0BCC-4A57-B257-5E3045820590}"/>
          </ac:picMkLst>
        </pc:picChg>
        <pc:picChg chg="mod">
          <ac:chgData name="Travis Nesse" userId="7f5cd6f3-7534-4332-8f38-a3b44d62a5a5" providerId="ADAL" clId="{805E2CE3-1551-4310-ADA7-31B5E533F5D3}" dt="2020-06-25T19:40:11.989" v="266" actId="1036"/>
          <ac:picMkLst>
            <pc:docMk/>
            <pc:sldMk cId="4162287189" sldId="300"/>
            <ac:picMk id="94" creationId="{98ECF06A-169B-4AFB-8377-7DCF173D6CD1}"/>
          </ac:picMkLst>
        </pc:picChg>
        <pc:picChg chg="del">
          <ac:chgData name="Travis Nesse" userId="7f5cd6f3-7534-4332-8f38-a3b44d62a5a5" providerId="ADAL" clId="{805E2CE3-1551-4310-ADA7-31B5E533F5D3}" dt="2020-06-25T18:47:52.796" v="0" actId="478"/>
          <ac:picMkLst>
            <pc:docMk/>
            <pc:sldMk cId="4162287189" sldId="300"/>
            <ac:picMk id="167" creationId="{A3AAC05C-1C4E-46A8-8185-1D588DBB99FF}"/>
          </ac:picMkLst>
        </pc:picChg>
        <pc:picChg chg="mod">
          <ac:chgData name="Travis Nesse" userId="7f5cd6f3-7534-4332-8f38-a3b44d62a5a5" providerId="ADAL" clId="{805E2CE3-1551-4310-ADA7-31B5E533F5D3}" dt="2020-06-25T19:19:01.333" v="137" actId="1035"/>
          <ac:picMkLst>
            <pc:docMk/>
            <pc:sldMk cId="4162287189" sldId="300"/>
            <ac:picMk id="174" creationId="{4FB3DAAA-4E07-4AEB-B347-0B026C728694}"/>
          </ac:picMkLst>
        </pc:picChg>
        <pc:picChg chg="mod">
          <ac:chgData name="Travis Nesse" userId="7f5cd6f3-7534-4332-8f38-a3b44d62a5a5" providerId="ADAL" clId="{805E2CE3-1551-4310-ADA7-31B5E533F5D3}" dt="2020-06-25T19:19:01.333" v="137" actId="1035"/>
          <ac:picMkLst>
            <pc:docMk/>
            <pc:sldMk cId="4162287189" sldId="300"/>
            <ac:picMk id="183" creationId="{17FF6184-C9EA-4A35-A1ED-A01E0808C31C}"/>
          </ac:picMkLst>
        </pc:picChg>
        <pc:picChg chg="mod">
          <ac:chgData name="Travis Nesse" userId="7f5cd6f3-7534-4332-8f38-a3b44d62a5a5" providerId="ADAL" clId="{805E2CE3-1551-4310-ADA7-31B5E533F5D3}" dt="2020-06-25T19:19:01.333" v="137" actId="1035"/>
          <ac:picMkLst>
            <pc:docMk/>
            <pc:sldMk cId="4162287189" sldId="300"/>
            <ac:picMk id="184" creationId="{60249FB0-C30E-4818-BC99-125E91A1C364}"/>
          </ac:picMkLst>
        </pc:picChg>
        <pc:picChg chg="mod">
          <ac:chgData name="Travis Nesse" userId="7f5cd6f3-7534-4332-8f38-a3b44d62a5a5" providerId="ADAL" clId="{805E2CE3-1551-4310-ADA7-31B5E533F5D3}" dt="2020-06-25T19:42:11.629" v="321" actId="1036"/>
          <ac:picMkLst>
            <pc:docMk/>
            <pc:sldMk cId="4162287189" sldId="300"/>
            <ac:picMk id="190" creationId="{2729734E-9A28-45DD-BB72-0A796DEDD660}"/>
          </ac:picMkLst>
        </pc:picChg>
      </pc:sldChg>
    </pc:docChg>
  </pc:docChgLst>
  <pc:docChgLst>
    <pc:chgData name="Vera Pashkevich" userId="S::vera@audienz.com::237c24e3-1396-4d13-92f5-b4b4c65d57d4" providerId="AD" clId="Web-{F2A00D38-03B9-0577-9291-778989ED202E}"/>
    <pc:docChg chg="modSld">
      <pc:chgData name="Vera Pashkevich" userId="S::vera@audienz.com::237c24e3-1396-4d13-92f5-b4b4c65d57d4" providerId="AD" clId="Web-{F2A00D38-03B9-0577-9291-778989ED202E}" dt="2020-07-29T23:11:41.949" v="62" actId="20577"/>
      <pc:docMkLst>
        <pc:docMk/>
      </pc:docMkLst>
      <pc:sldChg chg="modSp">
        <pc:chgData name="Vera Pashkevich" userId="S::vera@audienz.com::237c24e3-1396-4d13-92f5-b4b4c65d57d4" providerId="AD" clId="Web-{F2A00D38-03B9-0577-9291-778989ED202E}" dt="2020-07-29T23:11:41.949" v="61" actId="20577"/>
        <pc:sldMkLst>
          <pc:docMk/>
          <pc:sldMk cId="4162287189" sldId="300"/>
        </pc:sldMkLst>
        <pc:spChg chg="mod">
          <ac:chgData name="Vera Pashkevich" userId="S::vera@audienz.com::237c24e3-1396-4d13-92f5-b4b4c65d57d4" providerId="AD" clId="Web-{F2A00D38-03B9-0577-9291-778989ED202E}" dt="2020-07-29T23:11:41.840" v="54" actId="20577"/>
          <ac:spMkLst>
            <pc:docMk/>
            <pc:sldMk cId="4162287189" sldId="300"/>
            <ac:spMk id="2" creationId="{20AA8DDD-733E-4102-A442-7EC0D027BABB}"/>
          </ac:spMkLst>
        </pc:spChg>
        <pc:spChg chg="mod">
          <ac:chgData name="Vera Pashkevich" userId="S::vera@audienz.com::237c24e3-1396-4d13-92f5-b4b4c65d57d4" providerId="AD" clId="Web-{F2A00D38-03B9-0577-9291-778989ED202E}" dt="2020-07-29T23:11:40.418" v="2" actId="20577"/>
          <ac:spMkLst>
            <pc:docMk/>
            <pc:sldMk cId="4162287189" sldId="300"/>
            <ac:spMk id="4" creationId="{1CCAC096-2405-42DC-93E6-4A875600C51A}"/>
          </ac:spMkLst>
        </pc:spChg>
        <pc:spChg chg="mod">
          <ac:chgData name="Vera Pashkevich" userId="S::vera@audienz.com::237c24e3-1396-4d13-92f5-b4b4c65d57d4" providerId="AD" clId="Web-{F2A00D38-03B9-0577-9291-778989ED202E}" dt="2020-07-29T23:11:41.918" v="59" actId="20577"/>
          <ac:spMkLst>
            <pc:docMk/>
            <pc:sldMk cId="4162287189" sldId="300"/>
            <ac:spMk id="5" creationId="{4BAA39A1-D312-4A48-8FC7-FABA1F1B92D7}"/>
          </ac:spMkLst>
        </pc:spChg>
        <pc:spChg chg="mod">
          <ac:chgData name="Vera Pashkevich" userId="S::vera@audienz.com::237c24e3-1396-4d13-92f5-b4b4c65d57d4" providerId="AD" clId="Web-{F2A00D38-03B9-0577-9291-778989ED202E}" dt="2020-07-29T23:11:41.871" v="56" actId="20577"/>
          <ac:spMkLst>
            <pc:docMk/>
            <pc:sldMk cId="4162287189" sldId="300"/>
            <ac:spMk id="63" creationId="{3428F19F-AD74-4286-BC60-8AA7EF0FFAB3}"/>
          </ac:spMkLst>
        </pc:spChg>
        <pc:spChg chg="mod">
          <ac:chgData name="Vera Pashkevich" userId="S::vera@audienz.com::237c24e3-1396-4d13-92f5-b4b4c65d57d4" providerId="AD" clId="Web-{F2A00D38-03B9-0577-9291-778989ED202E}" dt="2020-07-29T23:11:41.902" v="58" actId="20577"/>
          <ac:spMkLst>
            <pc:docMk/>
            <pc:sldMk cId="4162287189" sldId="300"/>
            <ac:spMk id="64" creationId="{9B3314C1-42F9-48A7-94A5-8F79DBBBE59B}"/>
          </ac:spMkLst>
        </pc:spChg>
        <pc:spChg chg="mod">
          <ac:chgData name="Vera Pashkevich" userId="S::vera@audienz.com::237c24e3-1396-4d13-92f5-b4b4c65d57d4" providerId="AD" clId="Web-{F2A00D38-03B9-0577-9291-778989ED202E}" dt="2020-07-29T23:11:41.949" v="61" actId="20577"/>
          <ac:spMkLst>
            <pc:docMk/>
            <pc:sldMk cId="4162287189" sldId="300"/>
            <ac:spMk id="65" creationId="{C480DCC7-AB92-4F01-A2DD-5F0969238980}"/>
          </ac:spMkLst>
        </pc:spChg>
        <pc:spChg chg="mod">
          <ac:chgData name="Vera Pashkevich" userId="S::vera@audienz.com::237c24e3-1396-4d13-92f5-b4b4c65d57d4" providerId="AD" clId="Web-{F2A00D38-03B9-0577-9291-778989ED202E}" dt="2020-07-29T23:11:40.355" v="0" actId="20577"/>
          <ac:spMkLst>
            <pc:docMk/>
            <pc:sldMk cId="4162287189" sldId="300"/>
            <ac:spMk id="85" creationId="{4E99115F-714C-4105-B9CF-03EBD0FBAD26}"/>
          </ac:spMkLst>
        </pc:spChg>
        <pc:spChg chg="mod">
          <ac:chgData name="Vera Pashkevich" userId="S::vera@audienz.com::237c24e3-1396-4d13-92f5-b4b4c65d57d4" providerId="AD" clId="Web-{F2A00D38-03B9-0577-9291-778989ED202E}" dt="2020-07-29T23:11:40.386" v="1" actId="20577"/>
          <ac:spMkLst>
            <pc:docMk/>
            <pc:sldMk cId="4162287189" sldId="300"/>
            <ac:spMk id="86" creationId="{EE99E252-4FD8-44E3-AF47-9DF842C2957A}"/>
          </ac:spMkLst>
        </pc:spChg>
        <pc:spChg chg="mod">
          <ac:chgData name="Vera Pashkevich" userId="S::vera@audienz.com::237c24e3-1396-4d13-92f5-b4b4c65d57d4" providerId="AD" clId="Web-{F2A00D38-03B9-0577-9291-778989ED202E}" dt="2020-07-29T23:11:40.449" v="3" actId="20577"/>
          <ac:spMkLst>
            <pc:docMk/>
            <pc:sldMk cId="4162287189" sldId="300"/>
            <ac:spMk id="87" creationId="{D5CCEF6F-C72F-4A62-A16C-41CAF7709CDD}"/>
          </ac:spMkLst>
        </pc:spChg>
        <pc:spChg chg="mod">
          <ac:chgData name="Vera Pashkevich" userId="S::vera@audienz.com::237c24e3-1396-4d13-92f5-b4b4c65d57d4" providerId="AD" clId="Web-{F2A00D38-03B9-0577-9291-778989ED202E}" dt="2020-07-29T23:11:40.465" v="5" actId="20577"/>
          <ac:spMkLst>
            <pc:docMk/>
            <pc:sldMk cId="4162287189" sldId="300"/>
            <ac:spMk id="88" creationId="{427B512E-D9D9-4385-9F1E-81476FF80B8D}"/>
          </ac:spMkLst>
        </pc:spChg>
        <pc:spChg chg="mod">
          <ac:chgData name="Vera Pashkevich" userId="S::vera@audienz.com::237c24e3-1396-4d13-92f5-b4b4c65d57d4" providerId="AD" clId="Web-{F2A00D38-03B9-0577-9291-778989ED202E}" dt="2020-07-29T23:11:40.496" v="7" actId="20577"/>
          <ac:spMkLst>
            <pc:docMk/>
            <pc:sldMk cId="4162287189" sldId="300"/>
            <ac:spMk id="89" creationId="{D961C2DB-9478-4492-968E-D867CABB5F11}"/>
          </ac:spMkLst>
        </pc:spChg>
        <pc:spChg chg="mod">
          <ac:chgData name="Vera Pashkevich" userId="S::vera@audienz.com::237c24e3-1396-4d13-92f5-b4b4c65d57d4" providerId="AD" clId="Web-{F2A00D38-03B9-0577-9291-778989ED202E}" dt="2020-07-29T23:11:40.527" v="9" actId="20577"/>
          <ac:spMkLst>
            <pc:docMk/>
            <pc:sldMk cId="4162287189" sldId="300"/>
            <ac:spMk id="90" creationId="{80201CE1-54EE-4786-AC2D-042178A11508}"/>
          </ac:spMkLst>
        </pc:spChg>
        <pc:spChg chg="mod">
          <ac:chgData name="Vera Pashkevich" userId="S::vera@audienz.com::237c24e3-1396-4d13-92f5-b4b4c65d57d4" providerId="AD" clId="Web-{F2A00D38-03B9-0577-9291-778989ED202E}" dt="2020-07-29T23:11:40.558" v="11" actId="20577"/>
          <ac:spMkLst>
            <pc:docMk/>
            <pc:sldMk cId="4162287189" sldId="300"/>
            <ac:spMk id="148" creationId="{479BE3B4-2862-4572-89F8-B3546D5447BA}"/>
          </ac:spMkLst>
        </pc:spChg>
        <pc:spChg chg="mod">
          <ac:chgData name="Vera Pashkevich" userId="S::vera@audienz.com::237c24e3-1396-4d13-92f5-b4b4c65d57d4" providerId="AD" clId="Web-{F2A00D38-03B9-0577-9291-778989ED202E}" dt="2020-07-29T23:11:40.574" v="13" actId="20577"/>
          <ac:spMkLst>
            <pc:docMk/>
            <pc:sldMk cId="4162287189" sldId="300"/>
            <ac:spMk id="149" creationId="{715AEE9F-71BE-41D6-B967-76D67F31A006}"/>
          </ac:spMkLst>
        </pc:spChg>
        <pc:spChg chg="mod">
          <ac:chgData name="Vera Pashkevich" userId="S::vera@audienz.com::237c24e3-1396-4d13-92f5-b4b4c65d57d4" providerId="AD" clId="Web-{F2A00D38-03B9-0577-9291-778989ED202E}" dt="2020-07-29T23:11:40.605" v="15" actId="20577"/>
          <ac:spMkLst>
            <pc:docMk/>
            <pc:sldMk cId="4162287189" sldId="300"/>
            <ac:spMk id="150" creationId="{C844CAF7-71F1-41E1-B586-4053401F8C6C}"/>
          </ac:spMkLst>
        </pc:spChg>
        <pc:spChg chg="mod">
          <ac:chgData name="Vera Pashkevich" userId="S::vera@audienz.com::237c24e3-1396-4d13-92f5-b4b4c65d57d4" providerId="AD" clId="Web-{F2A00D38-03B9-0577-9291-778989ED202E}" dt="2020-07-29T23:11:40.621" v="17" actId="20577"/>
          <ac:spMkLst>
            <pc:docMk/>
            <pc:sldMk cId="4162287189" sldId="300"/>
            <ac:spMk id="151" creationId="{21A5CEBB-CAA1-4D14-BA87-41B8742592B0}"/>
          </ac:spMkLst>
        </pc:spChg>
        <pc:spChg chg="mod">
          <ac:chgData name="Vera Pashkevich" userId="S::vera@audienz.com::237c24e3-1396-4d13-92f5-b4b4c65d57d4" providerId="AD" clId="Web-{F2A00D38-03B9-0577-9291-778989ED202E}" dt="2020-07-29T23:11:40.652" v="18" actId="20577"/>
          <ac:spMkLst>
            <pc:docMk/>
            <pc:sldMk cId="4162287189" sldId="300"/>
            <ac:spMk id="153" creationId="{89B28F5A-7EE6-433A-8FC1-00D9C4D5F841}"/>
          </ac:spMkLst>
        </pc:spChg>
        <pc:spChg chg="mod">
          <ac:chgData name="Vera Pashkevich" userId="S::vera@audienz.com::237c24e3-1396-4d13-92f5-b4b4c65d57d4" providerId="AD" clId="Web-{F2A00D38-03B9-0577-9291-778989ED202E}" dt="2020-07-29T23:11:40.699" v="19" actId="20577"/>
          <ac:spMkLst>
            <pc:docMk/>
            <pc:sldMk cId="4162287189" sldId="300"/>
            <ac:spMk id="154" creationId="{0815578A-624B-4B1A-9E4E-AC28096DD4F2}"/>
          </ac:spMkLst>
        </pc:spChg>
        <pc:spChg chg="mod">
          <ac:chgData name="Vera Pashkevich" userId="S::vera@audienz.com::237c24e3-1396-4d13-92f5-b4b4c65d57d4" providerId="AD" clId="Web-{F2A00D38-03B9-0577-9291-778989ED202E}" dt="2020-07-29T23:11:40.761" v="20" actId="20577"/>
          <ac:spMkLst>
            <pc:docMk/>
            <pc:sldMk cId="4162287189" sldId="300"/>
            <ac:spMk id="155" creationId="{5BFF8EC6-7A3E-4C22-B0F8-FE55759A53A7}"/>
          </ac:spMkLst>
        </pc:spChg>
        <pc:spChg chg="mod">
          <ac:chgData name="Vera Pashkevich" userId="S::vera@audienz.com::237c24e3-1396-4d13-92f5-b4b4c65d57d4" providerId="AD" clId="Web-{F2A00D38-03B9-0577-9291-778989ED202E}" dt="2020-07-29T23:11:40.824" v="21" actId="20577"/>
          <ac:spMkLst>
            <pc:docMk/>
            <pc:sldMk cId="4162287189" sldId="300"/>
            <ac:spMk id="156" creationId="{D7011606-9AF7-4063-A405-DBBF7428DFD0}"/>
          </ac:spMkLst>
        </pc:spChg>
        <pc:spChg chg="mod">
          <ac:chgData name="Vera Pashkevich" userId="S::vera@audienz.com::237c24e3-1396-4d13-92f5-b4b4c65d57d4" providerId="AD" clId="Web-{F2A00D38-03B9-0577-9291-778989ED202E}" dt="2020-07-29T23:11:40.871" v="22" actId="20577"/>
          <ac:spMkLst>
            <pc:docMk/>
            <pc:sldMk cId="4162287189" sldId="300"/>
            <ac:spMk id="157" creationId="{5BFCBBB8-142A-4644-ACCE-DBA4A784C791}"/>
          </ac:spMkLst>
        </pc:spChg>
        <pc:spChg chg="mod">
          <ac:chgData name="Vera Pashkevich" userId="S::vera@audienz.com::237c24e3-1396-4d13-92f5-b4b4c65d57d4" providerId="AD" clId="Web-{F2A00D38-03B9-0577-9291-778989ED202E}" dt="2020-07-29T23:11:40.918" v="23" actId="20577"/>
          <ac:spMkLst>
            <pc:docMk/>
            <pc:sldMk cId="4162287189" sldId="300"/>
            <ac:spMk id="158" creationId="{A0F71A0F-35F8-4E72-B00F-DAD1955BE465}"/>
          </ac:spMkLst>
        </pc:spChg>
        <pc:spChg chg="mod">
          <ac:chgData name="Vera Pashkevich" userId="S::vera@audienz.com::237c24e3-1396-4d13-92f5-b4b4c65d57d4" providerId="AD" clId="Web-{F2A00D38-03B9-0577-9291-778989ED202E}" dt="2020-07-29T23:11:40.980" v="24" actId="20577"/>
          <ac:spMkLst>
            <pc:docMk/>
            <pc:sldMk cId="4162287189" sldId="300"/>
            <ac:spMk id="159" creationId="{9FC9FF12-12E0-4EF7-B1CA-A6F514AF77CF}"/>
          </ac:spMkLst>
        </pc:spChg>
        <pc:spChg chg="mod">
          <ac:chgData name="Vera Pashkevich" userId="S::vera@audienz.com::237c24e3-1396-4d13-92f5-b4b4c65d57d4" providerId="AD" clId="Web-{F2A00D38-03B9-0577-9291-778989ED202E}" dt="2020-07-29T23:11:41.027" v="25" actId="20577"/>
          <ac:spMkLst>
            <pc:docMk/>
            <pc:sldMk cId="4162287189" sldId="300"/>
            <ac:spMk id="160" creationId="{21CDEBD5-AA26-4EC4-B344-0AEC3148AC9F}"/>
          </ac:spMkLst>
        </pc:spChg>
        <pc:spChg chg="mod">
          <ac:chgData name="Vera Pashkevich" userId="S::vera@audienz.com::237c24e3-1396-4d13-92f5-b4b4c65d57d4" providerId="AD" clId="Web-{F2A00D38-03B9-0577-9291-778989ED202E}" dt="2020-07-29T23:11:41.090" v="26" actId="20577"/>
          <ac:spMkLst>
            <pc:docMk/>
            <pc:sldMk cId="4162287189" sldId="300"/>
            <ac:spMk id="161" creationId="{44090F7E-51B4-4B76-8D0C-28E6413C38CC}"/>
          </ac:spMkLst>
        </pc:spChg>
        <pc:spChg chg="mod">
          <ac:chgData name="Vera Pashkevich" userId="S::vera@audienz.com::237c24e3-1396-4d13-92f5-b4b4c65d57d4" providerId="AD" clId="Web-{F2A00D38-03B9-0577-9291-778989ED202E}" dt="2020-07-29T23:11:41.136" v="27" actId="20577"/>
          <ac:spMkLst>
            <pc:docMk/>
            <pc:sldMk cId="4162287189" sldId="300"/>
            <ac:spMk id="162" creationId="{C404C350-7854-4A84-B8A8-EADDDFB56309}"/>
          </ac:spMkLst>
        </pc:spChg>
        <pc:spChg chg="mod">
          <ac:chgData name="Vera Pashkevich" userId="S::vera@audienz.com::237c24e3-1396-4d13-92f5-b4b4c65d57d4" providerId="AD" clId="Web-{F2A00D38-03B9-0577-9291-778989ED202E}" dt="2020-07-29T23:11:41.199" v="28" actId="20577"/>
          <ac:spMkLst>
            <pc:docMk/>
            <pc:sldMk cId="4162287189" sldId="300"/>
            <ac:spMk id="163" creationId="{30BFD5D4-8EE3-4E88-B817-3537D390BFF8}"/>
          </ac:spMkLst>
        </pc:spChg>
        <pc:spChg chg="mod">
          <ac:chgData name="Vera Pashkevich" userId="S::vera@audienz.com::237c24e3-1396-4d13-92f5-b4b4c65d57d4" providerId="AD" clId="Web-{F2A00D38-03B9-0577-9291-778989ED202E}" dt="2020-07-29T23:11:41.246" v="29" actId="20577"/>
          <ac:spMkLst>
            <pc:docMk/>
            <pc:sldMk cId="4162287189" sldId="300"/>
            <ac:spMk id="164" creationId="{69582618-33EC-4BCC-9355-A29DF3B70E89}"/>
          </ac:spMkLst>
        </pc:spChg>
        <pc:spChg chg="mod">
          <ac:chgData name="Vera Pashkevich" userId="S::vera@audienz.com::237c24e3-1396-4d13-92f5-b4b4c65d57d4" providerId="AD" clId="Web-{F2A00D38-03B9-0577-9291-778989ED202E}" dt="2020-07-29T23:11:41.308" v="30" actId="20577"/>
          <ac:spMkLst>
            <pc:docMk/>
            <pc:sldMk cId="4162287189" sldId="300"/>
            <ac:spMk id="165" creationId="{E49335BA-3717-4477-9381-F4887EB533C2}"/>
          </ac:spMkLst>
        </pc:spChg>
        <pc:spChg chg="mod">
          <ac:chgData name="Vera Pashkevich" userId="S::vera@audienz.com::237c24e3-1396-4d13-92f5-b4b4c65d57d4" providerId="AD" clId="Web-{F2A00D38-03B9-0577-9291-778989ED202E}" dt="2020-07-29T23:11:41.355" v="31" actId="20577"/>
          <ac:spMkLst>
            <pc:docMk/>
            <pc:sldMk cId="4162287189" sldId="300"/>
            <ac:spMk id="166" creationId="{A279F139-CA01-4BC0-837D-087DFAE8C534}"/>
          </ac:spMkLst>
        </pc:spChg>
        <pc:spChg chg="mod">
          <ac:chgData name="Vera Pashkevich" userId="S::vera@audienz.com::237c24e3-1396-4d13-92f5-b4b4c65d57d4" providerId="AD" clId="Web-{F2A00D38-03B9-0577-9291-778989ED202E}" dt="2020-07-29T23:11:41.824" v="53" actId="20577"/>
          <ac:spMkLst>
            <pc:docMk/>
            <pc:sldMk cId="4162287189" sldId="300"/>
            <ac:spMk id="168" creationId="{3E051E81-C04D-4844-9D84-86C3EA7BEB78}"/>
          </ac:spMkLst>
        </pc:spChg>
        <pc:spChg chg="mod">
          <ac:chgData name="Vera Pashkevich" userId="S::vera@audienz.com::237c24e3-1396-4d13-92f5-b4b4c65d57d4" providerId="AD" clId="Web-{F2A00D38-03B9-0577-9291-778989ED202E}" dt="2020-07-29T23:11:41.418" v="32" actId="20577"/>
          <ac:spMkLst>
            <pc:docMk/>
            <pc:sldMk cId="4162287189" sldId="300"/>
            <ac:spMk id="169" creationId="{2A9F2EB3-6518-42CF-86C3-4BE0A473D38C}"/>
          </ac:spMkLst>
        </pc:spChg>
        <pc:spChg chg="mod">
          <ac:chgData name="Vera Pashkevich" userId="S::vera@audienz.com::237c24e3-1396-4d13-92f5-b4b4c65d57d4" providerId="AD" clId="Web-{F2A00D38-03B9-0577-9291-778989ED202E}" dt="2020-07-29T23:11:41.433" v="34" actId="20577"/>
          <ac:spMkLst>
            <pc:docMk/>
            <pc:sldMk cId="4162287189" sldId="300"/>
            <ac:spMk id="170" creationId="{0EA39B23-3B08-4110-BA70-CC402F65B858}"/>
          </ac:spMkLst>
        </pc:spChg>
        <pc:spChg chg="mod">
          <ac:chgData name="Vera Pashkevich" userId="S::vera@audienz.com::237c24e3-1396-4d13-92f5-b4b4c65d57d4" providerId="AD" clId="Web-{F2A00D38-03B9-0577-9291-778989ED202E}" dt="2020-07-29T23:11:41.465" v="36" actId="20577"/>
          <ac:spMkLst>
            <pc:docMk/>
            <pc:sldMk cId="4162287189" sldId="300"/>
            <ac:spMk id="171" creationId="{CBBA8003-DD0E-4973-B5E2-202604892DF4}"/>
          </ac:spMkLst>
        </pc:spChg>
        <pc:spChg chg="mod">
          <ac:chgData name="Vera Pashkevich" userId="S::vera@audienz.com::237c24e3-1396-4d13-92f5-b4b4c65d57d4" providerId="AD" clId="Web-{F2A00D38-03B9-0577-9291-778989ED202E}" dt="2020-07-29T23:11:41.480" v="38" actId="20577"/>
          <ac:spMkLst>
            <pc:docMk/>
            <pc:sldMk cId="4162287189" sldId="300"/>
            <ac:spMk id="172" creationId="{6C0E1AC9-EA19-4211-B054-E5A76042BAA1}"/>
          </ac:spMkLst>
        </pc:spChg>
        <pc:spChg chg="mod">
          <ac:chgData name="Vera Pashkevich" userId="S::vera@audienz.com::237c24e3-1396-4d13-92f5-b4b4c65d57d4" providerId="AD" clId="Web-{F2A00D38-03B9-0577-9291-778989ED202E}" dt="2020-07-29T23:11:41.496" v="40" actId="20577"/>
          <ac:spMkLst>
            <pc:docMk/>
            <pc:sldMk cId="4162287189" sldId="300"/>
            <ac:spMk id="173" creationId="{64937393-D565-4A49-9099-BD3DC7705A2B}"/>
          </ac:spMkLst>
        </pc:spChg>
        <pc:spChg chg="mod">
          <ac:chgData name="Vera Pashkevich" userId="S::vera@audienz.com::237c24e3-1396-4d13-92f5-b4b4c65d57d4" providerId="AD" clId="Web-{F2A00D38-03B9-0577-9291-778989ED202E}" dt="2020-07-29T23:11:41.527" v="42" actId="20577"/>
          <ac:spMkLst>
            <pc:docMk/>
            <pc:sldMk cId="4162287189" sldId="300"/>
            <ac:spMk id="176" creationId="{CCF9F117-4C60-4CFB-B2A5-0A4D4F7F8BB3}"/>
          </ac:spMkLst>
        </pc:spChg>
        <pc:spChg chg="mod">
          <ac:chgData name="Vera Pashkevich" userId="S::vera@audienz.com::237c24e3-1396-4d13-92f5-b4b4c65d57d4" providerId="AD" clId="Web-{F2A00D38-03B9-0577-9291-778989ED202E}" dt="2020-07-29T23:11:41.558" v="43" actId="20577"/>
          <ac:spMkLst>
            <pc:docMk/>
            <pc:sldMk cId="4162287189" sldId="300"/>
            <ac:spMk id="177" creationId="{E97FFB52-DC6F-474B-8790-E982B2E2F2A5}"/>
          </ac:spMkLst>
        </pc:spChg>
        <pc:spChg chg="mod">
          <ac:chgData name="Vera Pashkevich" userId="S::vera@audienz.com::237c24e3-1396-4d13-92f5-b4b4c65d57d4" providerId="AD" clId="Web-{F2A00D38-03B9-0577-9291-778989ED202E}" dt="2020-07-29T23:11:41.590" v="44" actId="20577"/>
          <ac:spMkLst>
            <pc:docMk/>
            <pc:sldMk cId="4162287189" sldId="300"/>
            <ac:spMk id="178" creationId="{979E5EF0-B342-4CC4-8A67-4579B4EF8A87}"/>
          </ac:spMkLst>
        </pc:spChg>
        <pc:spChg chg="mod">
          <ac:chgData name="Vera Pashkevich" userId="S::vera@audienz.com::237c24e3-1396-4d13-92f5-b4b4c65d57d4" providerId="AD" clId="Web-{F2A00D38-03B9-0577-9291-778989ED202E}" dt="2020-07-29T23:11:41.621" v="45" actId="20577"/>
          <ac:spMkLst>
            <pc:docMk/>
            <pc:sldMk cId="4162287189" sldId="300"/>
            <ac:spMk id="180" creationId="{2D3453E7-849E-453B-A146-CEE9A5696F4B}"/>
          </ac:spMkLst>
        </pc:spChg>
        <pc:spChg chg="mod">
          <ac:chgData name="Vera Pashkevich" userId="S::vera@audienz.com::237c24e3-1396-4d13-92f5-b4b4c65d57d4" providerId="AD" clId="Web-{F2A00D38-03B9-0577-9291-778989ED202E}" dt="2020-07-29T23:11:41.652" v="46" actId="20577"/>
          <ac:spMkLst>
            <pc:docMk/>
            <pc:sldMk cId="4162287189" sldId="300"/>
            <ac:spMk id="181" creationId="{846ABF4C-A915-4CEE-A875-A03CD449D6B8}"/>
          </ac:spMkLst>
        </pc:spChg>
        <pc:spChg chg="mod">
          <ac:chgData name="Vera Pashkevich" userId="S::vera@audienz.com::237c24e3-1396-4d13-92f5-b4b4c65d57d4" providerId="AD" clId="Web-{F2A00D38-03B9-0577-9291-778989ED202E}" dt="2020-07-29T23:11:41.668" v="47" actId="20577"/>
          <ac:spMkLst>
            <pc:docMk/>
            <pc:sldMk cId="4162287189" sldId="300"/>
            <ac:spMk id="182" creationId="{98FFFEA0-A230-4EE2-9DC6-27BF1464839A}"/>
          </ac:spMkLst>
        </pc:spChg>
        <pc:spChg chg="mod">
          <ac:chgData name="Vera Pashkevich" userId="S::vera@audienz.com::237c24e3-1396-4d13-92f5-b4b4c65d57d4" providerId="AD" clId="Web-{F2A00D38-03B9-0577-9291-778989ED202E}" dt="2020-07-29T23:11:41.699" v="48" actId="20577"/>
          <ac:spMkLst>
            <pc:docMk/>
            <pc:sldMk cId="4162287189" sldId="300"/>
            <ac:spMk id="185" creationId="{E775E18A-AD8F-4EEE-9531-9795DA5763DB}"/>
          </ac:spMkLst>
        </pc:spChg>
        <pc:spChg chg="mod">
          <ac:chgData name="Vera Pashkevich" userId="S::vera@audienz.com::237c24e3-1396-4d13-92f5-b4b4c65d57d4" providerId="AD" clId="Web-{F2A00D38-03B9-0577-9291-778989ED202E}" dt="2020-07-29T23:11:41.715" v="49" actId="20577"/>
          <ac:spMkLst>
            <pc:docMk/>
            <pc:sldMk cId="4162287189" sldId="300"/>
            <ac:spMk id="186" creationId="{54D0C88B-78F8-41EA-AFFB-52B8B2C51223}"/>
          </ac:spMkLst>
        </pc:spChg>
        <pc:spChg chg="mod">
          <ac:chgData name="Vera Pashkevich" userId="S::vera@audienz.com::237c24e3-1396-4d13-92f5-b4b4c65d57d4" providerId="AD" clId="Web-{F2A00D38-03B9-0577-9291-778989ED202E}" dt="2020-07-29T23:11:41.746" v="50" actId="20577"/>
          <ac:spMkLst>
            <pc:docMk/>
            <pc:sldMk cId="4162287189" sldId="300"/>
            <ac:spMk id="187" creationId="{3FACE512-B239-451A-8015-4CDB9C57BD44}"/>
          </ac:spMkLst>
        </pc:spChg>
        <pc:spChg chg="mod">
          <ac:chgData name="Vera Pashkevich" userId="S::vera@audienz.com::237c24e3-1396-4d13-92f5-b4b4c65d57d4" providerId="AD" clId="Web-{F2A00D38-03B9-0577-9291-778989ED202E}" dt="2020-07-29T23:11:41.777" v="51" actId="20577"/>
          <ac:spMkLst>
            <pc:docMk/>
            <pc:sldMk cId="4162287189" sldId="300"/>
            <ac:spMk id="188" creationId="{EED8EA67-8100-4F3B-A1A8-39DB236FC7B6}"/>
          </ac:spMkLst>
        </pc:spChg>
        <pc:spChg chg="mod">
          <ac:chgData name="Vera Pashkevich" userId="S::vera@audienz.com::237c24e3-1396-4d13-92f5-b4b4c65d57d4" providerId="AD" clId="Web-{F2A00D38-03B9-0577-9291-778989ED202E}" dt="2020-07-29T23:11:41.793" v="52" actId="20577"/>
          <ac:spMkLst>
            <pc:docMk/>
            <pc:sldMk cId="4162287189" sldId="300"/>
            <ac:spMk id="189" creationId="{8F0E9563-213D-4F4A-8421-12A864BA0A31}"/>
          </ac:spMkLst>
        </pc:spChg>
      </pc:sldChg>
    </pc:docChg>
  </pc:docChgLst>
  <pc:docChgLst>
    <pc:chgData name="Mary Lisa Newman" userId="9c8cba21-67a1-4aa9-98ba-c4ca1eda0aa0" providerId="ADAL" clId="{A1F65522-7603-4979-AAA7-E5FF500ADE0D}"/>
    <pc:docChg chg="modSld">
      <pc:chgData name="Mary Lisa Newman" userId="9c8cba21-67a1-4aa9-98ba-c4ca1eda0aa0" providerId="ADAL" clId="{A1F65522-7603-4979-AAA7-E5FF500ADE0D}" dt="2020-07-02T00:10:04.886" v="0" actId="13926"/>
      <pc:docMkLst>
        <pc:docMk/>
      </pc:docMkLst>
      <pc:sldChg chg="modSp">
        <pc:chgData name="Mary Lisa Newman" userId="9c8cba21-67a1-4aa9-98ba-c4ca1eda0aa0" providerId="ADAL" clId="{A1F65522-7603-4979-AAA7-E5FF500ADE0D}" dt="2020-07-02T00:10:04.886" v="0" actId="13926"/>
        <pc:sldMkLst>
          <pc:docMk/>
          <pc:sldMk cId="4162287189" sldId="300"/>
        </pc:sldMkLst>
        <pc:spChg chg="mod">
          <ac:chgData name="Mary Lisa Newman" userId="9c8cba21-67a1-4aa9-98ba-c4ca1eda0aa0" providerId="ADAL" clId="{A1F65522-7603-4979-AAA7-E5FF500ADE0D}" dt="2020-07-02T00:10:04.886" v="0" actId="13926"/>
          <ac:spMkLst>
            <pc:docMk/>
            <pc:sldMk cId="4162287189" sldId="300"/>
            <ac:spMk id="63" creationId="{3428F19F-AD74-4286-BC60-8AA7EF0FFAB3}"/>
          </ac:spMkLst>
        </pc:spChg>
      </pc:sldChg>
    </pc:docChg>
  </pc:docChgLst>
  <pc:docChgLst>
    <pc:chgData name="Quincy Kosena" userId="34552e9c-390f-40b5-8a42-f626db2682ad" providerId="ADAL" clId="{E358BD4D-9D96-6946-BCFF-98E01EF0B0C9}"/>
    <pc:docChg chg="undo custSel modSld">
      <pc:chgData name="Quincy Kosena" userId="34552e9c-390f-40b5-8a42-f626db2682ad" providerId="ADAL" clId="{E358BD4D-9D96-6946-BCFF-98E01EF0B0C9}" dt="2020-07-01T23:23:11.547" v="50" actId="20577"/>
      <pc:docMkLst>
        <pc:docMk/>
      </pc:docMkLst>
      <pc:sldChg chg="modSp">
        <pc:chgData name="Quincy Kosena" userId="34552e9c-390f-40b5-8a42-f626db2682ad" providerId="ADAL" clId="{E358BD4D-9D96-6946-BCFF-98E01EF0B0C9}" dt="2020-07-01T23:23:11.547" v="50" actId="20577"/>
        <pc:sldMkLst>
          <pc:docMk/>
          <pc:sldMk cId="4162287189" sldId="300"/>
        </pc:sldMkLst>
        <pc:spChg chg="mod">
          <ac:chgData name="Quincy Kosena" userId="34552e9c-390f-40b5-8a42-f626db2682ad" providerId="ADAL" clId="{E358BD4D-9D96-6946-BCFF-98E01EF0B0C9}" dt="2020-07-01T23:20:41.528" v="8" actId="12788"/>
          <ac:spMkLst>
            <pc:docMk/>
            <pc:sldMk cId="4162287189" sldId="300"/>
            <ac:spMk id="2" creationId="{20AA8DDD-733E-4102-A442-7EC0D027BABB}"/>
          </ac:spMkLst>
        </pc:spChg>
        <pc:spChg chg="mod">
          <ac:chgData name="Quincy Kosena" userId="34552e9c-390f-40b5-8a42-f626db2682ad" providerId="ADAL" clId="{E358BD4D-9D96-6946-BCFF-98E01EF0B0C9}" dt="2020-07-01T23:23:11.547" v="50" actId="20577"/>
          <ac:spMkLst>
            <pc:docMk/>
            <pc:sldMk cId="4162287189" sldId="300"/>
            <ac:spMk id="63" creationId="{3428F19F-AD74-4286-BC60-8AA7EF0FFAB3}"/>
          </ac:spMkLst>
        </pc:spChg>
        <pc:spChg chg="mod">
          <ac:chgData name="Quincy Kosena" userId="34552e9c-390f-40b5-8a42-f626db2682ad" providerId="ADAL" clId="{E358BD4D-9D96-6946-BCFF-98E01EF0B0C9}" dt="2020-07-01T23:12:24.696" v="1" actId="13926"/>
          <ac:spMkLst>
            <pc:docMk/>
            <pc:sldMk cId="4162287189" sldId="300"/>
            <ac:spMk id="88" creationId="{427B512E-D9D9-4385-9F1E-81476FF80B8D}"/>
          </ac:spMkLst>
        </pc:spChg>
        <pc:spChg chg="mod">
          <ac:chgData name="Quincy Kosena" userId="34552e9c-390f-40b5-8a42-f626db2682ad" providerId="ADAL" clId="{E358BD4D-9D96-6946-BCFF-98E01EF0B0C9}" dt="2020-07-01T23:12:55.798" v="5" actId="13926"/>
          <ac:spMkLst>
            <pc:docMk/>
            <pc:sldMk cId="4162287189" sldId="300"/>
            <ac:spMk id="89" creationId="{D961C2DB-9478-4492-968E-D867CABB5F11}"/>
          </ac:spMkLst>
        </pc:spChg>
        <pc:spChg chg="mod">
          <ac:chgData name="Quincy Kosena" userId="34552e9c-390f-40b5-8a42-f626db2682ad" providerId="ADAL" clId="{E358BD4D-9D96-6946-BCFF-98E01EF0B0C9}" dt="2020-07-01T23:22:51.992" v="47" actId="13926"/>
          <ac:spMkLst>
            <pc:docMk/>
            <pc:sldMk cId="4162287189" sldId="300"/>
            <ac:spMk id="90" creationId="{80201CE1-54EE-4786-AC2D-042178A11508}"/>
          </ac:spMkLst>
        </pc:spChg>
        <pc:spChg chg="mod">
          <ac:chgData name="Quincy Kosena" userId="34552e9c-390f-40b5-8a42-f626db2682ad" providerId="ADAL" clId="{E358BD4D-9D96-6946-BCFF-98E01EF0B0C9}" dt="2020-07-01T23:21:41.892" v="34" actId="13926"/>
          <ac:spMkLst>
            <pc:docMk/>
            <pc:sldMk cId="4162287189" sldId="300"/>
            <ac:spMk id="148" creationId="{479BE3B4-2862-4572-89F8-B3546D5447BA}"/>
          </ac:spMkLst>
        </pc:spChg>
        <pc:spChg chg="mod">
          <ac:chgData name="Quincy Kosena" userId="34552e9c-390f-40b5-8a42-f626db2682ad" providerId="ADAL" clId="{E358BD4D-9D96-6946-BCFF-98E01EF0B0C9}" dt="2020-07-01T23:21:56.885" v="38" actId="13926"/>
          <ac:spMkLst>
            <pc:docMk/>
            <pc:sldMk cId="4162287189" sldId="300"/>
            <ac:spMk id="149" creationId="{715AEE9F-71BE-41D6-B967-76D67F31A006}"/>
          </ac:spMkLst>
        </pc:spChg>
        <pc:spChg chg="mod">
          <ac:chgData name="Quincy Kosena" userId="34552e9c-390f-40b5-8a42-f626db2682ad" providerId="ADAL" clId="{E358BD4D-9D96-6946-BCFF-98E01EF0B0C9}" dt="2020-07-01T23:22:21.198" v="41" actId="13926"/>
          <ac:spMkLst>
            <pc:docMk/>
            <pc:sldMk cId="4162287189" sldId="300"/>
            <ac:spMk id="150" creationId="{C844CAF7-71F1-41E1-B586-4053401F8C6C}"/>
          </ac:spMkLst>
        </pc:spChg>
        <pc:spChg chg="mod">
          <ac:chgData name="Quincy Kosena" userId="34552e9c-390f-40b5-8a42-f626db2682ad" providerId="ADAL" clId="{E358BD4D-9D96-6946-BCFF-98E01EF0B0C9}" dt="2020-07-01T23:20:41.528" v="8" actId="12788"/>
          <ac:spMkLst>
            <pc:docMk/>
            <pc:sldMk cId="4162287189" sldId="300"/>
            <ac:spMk id="168" creationId="{3E051E81-C04D-4844-9D84-86C3EA7BEB78}"/>
          </ac:spMkLst>
        </pc:spChg>
        <pc:spChg chg="mod">
          <ac:chgData name="Quincy Kosena" userId="34552e9c-390f-40b5-8a42-f626db2682ad" providerId="ADAL" clId="{E358BD4D-9D96-6946-BCFF-98E01EF0B0C9}" dt="2020-07-01T23:21:21.327" v="26" actId="20577"/>
          <ac:spMkLst>
            <pc:docMk/>
            <pc:sldMk cId="4162287189" sldId="300"/>
            <ac:spMk id="170" creationId="{0EA39B23-3B08-4110-BA70-CC402F65B858}"/>
          </ac:spMkLst>
        </pc:spChg>
        <pc:spChg chg="mod">
          <ac:chgData name="Quincy Kosena" userId="34552e9c-390f-40b5-8a42-f626db2682ad" providerId="ADAL" clId="{E358BD4D-9D96-6946-BCFF-98E01EF0B0C9}" dt="2020-07-01T23:21:19.204" v="24" actId="20577"/>
          <ac:spMkLst>
            <pc:docMk/>
            <pc:sldMk cId="4162287189" sldId="300"/>
            <ac:spMk id="171" creationId="{CBBA8003-DD0E-4973-B5E2-202604892DF4}"/>
          </ac:spMkLst>
        </pc:spChg>
        <pc:spChg chg="mod">
          <ac:chgData name="Quincy Kosena" userId="34552e9c-390f-40b5-8a42-f626db2682ad" providerId="ADAL" clId="{E358BD4D-9D96-6946-BCFF-98E01EF0B0C9}" dt="2020-07-01T23:21:25.660" v="30" actId="20577"/>
          <ac:spMkLst>
            <pc:docMk/>
            <pc:sldMk cId="4162287189" sldId="300"/>
            <ac:spMk id="172" creationId="{6C0E1AC9-EA19-4211-B054-E5A76042BAA1}"/>
          </ac:spMkLst>
        </pc:spChg>
        <pc:spChg chg="mod">
          <ac:chgData name="Quincy Kosena" userId="34552e9c-390f-40b5-8a42-f626db2682ad" providerId="ADAL" clId="{E358BD4D-9D96-6946-BCFF-98E01EF0B0C9}" dt="2020-07-01T23:21:23.427" v="28" actId="20577"/>
          <ac:spMkLst>
            <pc:docMk/>
            <pc:sldMk cId="4162287189" sldId="300"/>
            <ac:spMk id="173" creationId="{64937393-D565-4A49-9099-BD3DC7705A2B}"/>
          </ac:spMkLst>
        </pc:spChg>
        <pc:spChg chg="mod">
          <ac:chgData name="Quincy Kosena" userId="34552e9c-390f-40b5-8a42-f626db2682ad" providerId="ADAL" clId="{E358BD4D-9D96-6946-BCFF-98E01EF0B0C9}" dt="2020-07-01T23:20:47.934" v="16" actId="1038"/>
          <ac:spMkLst>
            <pc:docMk/>
            <pc:sldMk cId="4162287189" sldId="300"/>
            <ac:spMk id="189" creationId="{8F0E9563-213D-4F4A-8421-12A864BA0A31}"/>
          </ac:spMkLst>
        </pc:spChg>
        <pc:grpChg chg="mod">
          <ac:chgData name="Quincy Kosena" userId="34552e9c-390f-40b5-8a42-f626db2682ad" providerId="ADAL" clId="{E358BD4D-9D96-6946-BCFF-98E01EF0B0C9}" dt="2020-07-01T23:22:35.595" v="45" actId="1076"/>
          <ac:grpSpMkLst>
            <pc:docMk/>
            <pc:sldMk cId="4162287189" sldId="300"/>
            <ac:grpSpMk id="152" creationId="{FD9D8A1E-42E8-4919-A7BA-2F639617AA4C}"/>
          </ac:grpSpMkLst>
        </pc:grpChg>
        <pc:picChg chg="mod">
          <ac:chgData name="Quincy Kosena" userId="34552e9c-390f-40b5-8a42-f626db2682ad" providerId="ADAL" clId="{E358BD4D-9D96-6946-BCFF-98E01EF0B0C9}" dt="2020-07-01T23:21:30.909" v="31" actId="1038"/>
          <ac:picMkLst>
            <pc:docMk/>
            <pc:sldMk cId="4162287189" sldId="300"/>
            <ac:picMk id="61" creationId="{1DBD6DD2-E9A6-47F8-ACA0-42202E22A691}"/>
          </ac:picMkLst>
        </pc:picChg>
        <pc:picChg chg="mod">
          <ac:chgData name="Quincy Kosena" userId="34552e9c-390f-40b5-8a42-f626db2682ad" providerId="ADAL" clId="{E358BD4D-9D96-6946-BCFF-98E01EF0B0C9}" dt="2020-07-01T23:22:31.128" v="43" actId="1076"/>
          <ac:picMkLst>
            <pc:docMk/>
            <pc:sldMk cId="4162287189" sldId="300"/>
            <ac:picMk id="94" creationId="{98ECF06A-169B-4AFB-8377-7DCF173D6CD1}"/>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7/29/2020</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dirty="0"/>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7/29/2020</a:t>
            </a:fld>
            <a:endParaRPr lang="en-US" dirty="0"/>
          </a:p>
        </p:txBody>
      </p:sp>
      <p:sp>
        <p:nvSpPr>
          <p:cNvPr id="4" name="Slide Image Placeholder 3"/>
          <p:cNvSpPr>
            <a:spLocks noGrp="1" noRot="1" noChangeAspect="1"/>
          </p:cNvSpPr>
          <p:nvPr>
            <p:ph type="sldImg" idx="2"/>
          </p:nvPr>
        </p:nvSpPr>
        <p:spPr>
          <a:xfrm>
            <a:off x="2595563" y="1162050"/>
            <a:ext cx="1666875"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dirty="0"/>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95563" y="1162050"/>
            <a:ext cx="16668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729408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lumMod val="95000"/>
          </a:schemeClr>
        </a:solid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6AA149E-96FE-43A7-8174-5E461FC9B410}"/>
              </a:ext>
            </a:extLst>
          </p:cNvPr>
          <p:cNvSpPr txBox="1"/>
          <p:nvPr userDrawn="1"/>
        </p:nvSpPr>
        <p:spPr>
          <a:xfrm>
            <a:off x="345764" y="1202406"/>
            <a:ext cx="7056750" cy="472744"/>
          </a:xfrm>
          <a:prstGeom prst="rect">
            <a:avLst/>
          </a:prstGeom>
          <a:noFill/>
        </p:spPr>
        <p:txBody>
          <a:bodyPr wrap="square" lIns="0" tIns="0" rIns="0" bIns="0" rtlCol="0">
            <a:noAutofit/>
          </a:bodyPr>
          <a:lstStyle>
            <a:defPPr>
              <a:defRPr lang="en-US"/>
            </a:defPPr>
            <a:lvl1pPr>
              <a:lnSpc>
                <a:spcPct val="90000"/>
              </a:lnSpc>
              <a:defRPr sz="3200">
                <a:solidFill>
                  <a:schemeClr val="accent1"/>
                </a:solidFill>
                <a:latin typeface="+mj-lt"/>
              </a:defRPr>
            </a:lvl1pPr>
          </a:lstStyle>
          <a:p>
            <a:pPr marL="0" marR="0" lvl="0" indent="0" algn="l" defTabSz="860602" rtl="0" eaLnBrk="1" fontAlgn="auto" latinLnBrk="0" hangingPunct="1">
              <a:lnSpc>
                <a:spcPct val="90000"/>
              </a:lnSpc>
              <a:spcBef>
                <a:spcPts val="0"/>
              </a:spcBef>
              <a:spcAft>
                <a:spcPts val="0"/>
              </a:spcAft>
              <a:buClrTx/>
              <a:buSzTx/>
              <a:buFontTx/>
              <a:buNone/>
              <a:tabLst/>
              <a:defRPr/>
            </a:pPr>
            <a:endParaRPr kumimoji="0" lang="en-US" sz="2844"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5B29FDB2-E723-484D-8E40-4AFDCA8A6023}"/>
              </a:ext>
            </a:extLst>
          </p:cNvPr>
          <p:cNvSpPr txBox="1"/>
          <p:nvPr userDrawn="1"/>
        </p:nvSpPr>
        <p:spPr>
          <a:xfrm>
            <a:off x="345764" y="2385847"/>
            <a:ext cx="7056750" cy="295465"/>
          </a:xfrm>
          <a:prstGeom prst="rect">
            <a:avLst/>
          </a:prstGeom>
          <a:noFill/>
        </p:spPr>
        <p:txBody>
          <a:bodyPr wrap="square" lIns="0" tIns="0" rIns="0" bIns="0" rtlCol="0">
            <a:noAutofit/>
          </a:bodyPr>
          <a:lstStyle>
            <a:defPPr>
              <a:defRPr lang="en-US"/>
            </a:defPPr>
            <a:lvl1pPr>
              <a:defRPr sz="1800"/>
            </a:lvl1pPr>
          </a:lstStyle>
          <a:p>
            <a:pPr marL="0" marR="0" lvl="0" indent="0" algn="l" defTabSz="86060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Text Placeholder 28">
            <a:extLst>
              <a:ext uri="{FF2B5EF4-FFF2-40B4-BE49-F238E27FC236}">
                <a16:creationId xmlns:a16="http://schemas.microsoft.com/office/drawing/2014/main" id="{F9052538-E0F7-4EEE-B032-EDDF094E8ACE}"/>
              </a:ext>
            </a:extLst>
          </p:cNvPr>
          <p:cNvSpPr>
            <a:spLocks noGrp="1"/>
          </p:cNvSpPr>
          <p:nvPr>
            <p:ph type="body" sz="quarter" idx="10"/>
          </p:nvPr>
        </p:nvSpPr>
        <p:spPr>
          <a:xfrm>
            <a:off x="373065" y="1202408"/>
            <a:ext cx="7029451" cy="738156"/>
          </a:xfrm>
          <a:noFill/>
        </p:spPr>
        <p:txBody>
          <a:bodyPr wrap="square" lIns="0" tIns="0" rIns="0" bIns="0" rtlCol="0">
            <a:noAutofit/>
          </a:bodyPr>
          <a:lstStyle>
            <a:lvl1pPr marL="0" indent="0" algn="l">
              <a:buNone/>
              <a:defRPr lang="en-US" sz="2844" smtClean="0">
                <a:solidFill>
                  <a:schemeClr val="accent1"/>
                </a:solidFill>
                <a:latin typeface="+mj-lt"/>
                <a:cs typeface="+mn-cs"/>
              </a:defRPr>
            </a:lvl1pPr>
            <a:lvl2pPr marL="0" indent="0" algn="l">
              <a:buNone/>
              <a:defRPr lang="en-US" sz="1569" smtClean="0"/>
            </a:lvl2pPr>
            <a:lvl3pPr marL="334615" indent="0" algn="l">
              <a:buNone/>
              <a:defRPr lang="en-US" sz="1569" smtClean="0"/>
            </a:lvl3pPr>
            <a:lvl4pPr marL="786543" indent="0" algn="l">
              <a:buNone/>
              <a:defRPr lang="en-US" sz="1569" smtClean="0"/>
            </a:lvl4pPr>
            <a:lvl5pPr marL="1223290" indent="0" algn="l">
              <a:buNone/>
              <a:defRPr lang="en-US" sz="1569"/>
            </a:lvl5pPr>
          </a:lstStyle>
          <a:p>
            <a:pPr marL="0" lvl="0" defTabSz="812773">
              <a:lnSpc>
                <a:spcPct val="90000"/>
              </a:lnSpc>
            </a:pPr>
            <a:r>
              <a:rPr lang="en-US"/>
              <a:t>Click to edit Master text styles</a:t>
            </a:r>
          </a:p>
        </p:txBody>
      </p:sp>
      <p:sp>
        <p:nvSpPr>
          <p:cNvPr id="24" name="Text Placeholder 30">
            <a:extLst>
              <a:ext uri="{FF2B5EF4-FFF2-40B4-BE49-F238E27FC236}">
                <a16:creationId xmlns:a16="http://schemas.microsoft.com/office/drawing/2014/main" id="{7481ABB0-6FAE-4F60-89FE-83B3D3DBF8D7}"/>
              </a:ext>
            </a:extLst>
          </p:cNvPr>
          <p:cNvSpPr>
            <a:spLocks noGrp="1"/>
          </p:cNvSpPr>
          <p:nvPr>
            <p:ph type="body" sz="quarter" idx="11"/>
          </p:nvPr>
        </p:nvSpPr>
        <p:spPr>
          <a:xfrm>
            <a:off x="373065" y="2385848"/>
            <a:ext cx="7029451" cy="246221"/>
          </a:xfrm>
          <a:noFill/>
        </p:spPr>
        <p:txBody>
          <a:bodyPr wrap="square" lIns="0" tIns="0" rIns="0" bIns="0" rtlCol="0">
            <a:spAutoFit/>
          </a:bodyPr>
          <a:lstStyle>
            <a:lvl1pPr marL="0" indent="0">
              <a:buNone/>
              <a:defRPr lang="en-US" sz="1600" smtClean="0">
                <a:cs typeface="+mn-cs"/>
              </a:defRPr>
            </a:lvl1pPr>
            <a:lvl2pPr marL="0" indent="0">
              <a:buNone/>
              <a:defRPr lang="en-US" sz="1569" smtClean="0"/>
            </a:lvl2pPr>
            <a:lvl3pPr marL="334615" indent="0">
              <a:buNone/>
              <a:defRPr lang="en-US" sz="1569" smtClean="0"/>
            </a:lvl3pPr>
            <a:lvl4pPr marL="786543" indent="0">
              <a:buNone/>
              <a:defRPr lang="en-US" sz="1569" smtClean="0"/>
            </a:lvl4pPr>
            <a:lvl5pPr marL="1223290" indent="0">
              <a:buNone/>
              <a:defRPr lang="en-US" sz="1569"/>
            </a:lvl5pPr>
          </a:lstStyle>
          <a:p>
            <a:pPr marL="0" lvl="0" defTabSz="812773"/>
            <a:r>
              <a:rPr lang="en-US"/>
              <a:t>Click to edit Master text styles</a:t>
            </a:r>
          </a:p>
        </p:txBody>
      </p:sp>
    </p:spTree>
    <p:extLst>
      <p:ext uri="{BB962C8B-B14F-4D97-AF65-F5344CB8AC3E}">
        <p14:creationId xmlns:p14="http://schemas.microsoft.com/office/powerpoint/2010/main" val="1319760023"/>
      </p:ext>
    </p:extLst>
  </p:cSld>
  <p:clrMapOvr>
    <a:masterClrMapping/>
  </p:clrMapOvr>
  <p:transition>
    <p:fade/>
  </p:transition>
  <p:extLst>
    <p:ext uri="{DCECCB84-F9BA-43D5-87BE-67443E8EF086}">
      <p15:sldGuideLst xmlns:p15="http://schemas.microsoft.com/office/powerpoint/2012/main">
        <p15:guide id="6" pos="496">
          <p15:clr>
            <a:srgbClr val="A4A3A4"/>
          </p15:clr>
        </p15:guide>
        <p15:guide id="7" pos="613">
          <p15:clr>
            <a:srgbClr val="A4A3A4"/>
          </p15:clr>
        </p15:guide>
        <p15:guide id="8" pos="875">
          <p15:clr>
            <a:srgbClr val="A4A3A4"/>
          </p15:clr>
        </p15:guide>
        <p15:guide id="9" pos="992">
          <p15:clr>
            <a:srgbClr val="A4A3A4"/>
          </p15:clr>
        </p15:guide>
        <p15:guide id="10" pos="1253">
          <p15:clr>
            <a:srgbClr val="A4A3A4"/>
          </p15:clr>
        </p15:guide>
        <p15:guide id="11" pos="1370">
          <p15:clr>
            <a:srgbClr val="A4A3A4"/>
          </p15:clr>
        </p15:guide>
        <p15:guide id="12" pos="1633">
          <p15:clr>
            <a:srgbClr val="A4A3A4"/>
          </p15:clr>
        </p15:guide>
        <p15:guide id="13" pos="1750">
          <p15:clr>
            <a:srgbClr val="A4A3A4"/>
          </p15:clr>
        </p15:guide>
        <p15:guide id="14" pos="2012">
          <p15:clr>
            <a:srgbClr val="A4A3A4"/>
          </p15:clr>
        </p15:guide>
        <p15:guide id="15" pos="2128">
          <p15:clr>
            <a:srgbClr val="A4A3A4"/>
          </p15:clr>
        </p15:guide>
        <p15:guide id="16" pos="2390">
          <p15:clr>
            <a:srgbClr val="A4A3A4"/>
          </p15:clr>
        </p15:guide>
        <p15:guide id="17" pos="2507">
          <p15:clr>
            <a:srgbClr val="A4A3A4"/>
          </p15:clr>
        </p15:guide>
        <p15:guide id="18" pos="2769">
          <p15:clr>
            <a:srgbClr val="A4A3A4"/>
          </p15:clr>
        </p15:guide>
        <p15:guide id="19" pos="2885">
          <p15:clr>
            <a:srgbClr val="A4A3A4"/>
          </p15:clr>
        </p15:guide>
        <p15:guide id="20" pos="3147">
          <p15:clr>
            <a:srgbClr val="A4A3A4"/>
          </p15:clr>
        </p15:guide>
        <p15:guide id="21" pos="3264">
          <p15:clr>
            <a:srgbClr val="A4A3A4"/>
          </p15:clr>
        </p15:guide>
        <p15:guide id="22" pos="3525">
          <p15:clr>
            <a:srgbClr val="A4A3A4"/>
          </p15:clr>
        </p15:guide>
        <p15:guide id="23" pos="3643">
          <p15:clr>
            <a:srgbClr val="A4A3A4"/>
          </p15:clr>
        </p15:guide>
        <p15:guide id="24" pos="3903">
          <p15:clr>
            <a:srgbClr val="A4A3A4"/>
          </p15:clr>
        </p15:guide>
        <p15:guide id="25" pos="4021">
          <p15:clr>
            <a:srgbClr val="A4A3A4"/>
          </p15:clr>
        </p15:guide>
        <p15:guide id="26" pos="4282">
          <p15:clr>
            <a:srgbClr val="A4A3A4"/>
          </p15:clr>
        </p15:guide>
        <p15:guide id="27" pos="4398">
          <p15:clr>
            <a:srgbClr val="A4A3A4"/>
          </p15:clr>
        </p15:guide>
        <p15:guide id="28" orient="horz" pos="2203">
          <p15:clr>
            <a:srgbClr val="5ACBF0"/>
          </p15:clr>
        </p15:guide>
        <p15:guide id="29" orient="horz" pos="4272">
          <p15:clr>
            <a:srgbClr val="5ACBF0"/>
          </p15:clr>
        </p15:guide>
        <p15:guide id="30" orient="horz" pos="1387">
          <p15:clr>
            <a:srgbClr val="5ACBF0"/>
          </p15:clr>
        </p15:guide>
        <p15:guide id="31" orient="horz" pos="1632">
          <p15:clr>
            <a:srgbClr val="5ACBF0"/>
          </p15:clr>
        </p15:guide>
        <p15:guide id="32" orient="horz" pos="1960">
          <p15:clr>
            <a:srgbClr val="5ACBF0"/>
          </p15:clr>
        </p15:guide>
        <p15:guide id="33" orient="horz" pos="2475">
          <p15:clr>
            <a:srgbClr val="5ACBF0"/>
          </p15:clr>
        </p15:guide>
        <p15:guide id="34" orient="horz" pos="4515">
          <p15:clr>
            <a:srgbClr val="5ACBF0"/>
          </p15:clr>
        </p15:guide>
        <p15:guide id="35" orient="horz" pos="4760">
          <p15:clr>
            <a:srgbClr val="5ACBF0"/>
          </p15:clr>
        </p15:guide>
        <p15:guide id="36" orient="horz" pos="6555">
          <p15:clr>
            <a:srgbClr val="5ACBF0"/>
          </p15:clr>
        </p15:guide>
        <p15:guide id="37" orient="horz" pos="6800">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975369"/>
            <a:ext cx="7024307" cy="204363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43" y="4369616"/>
            <a:ext cx="7024307" cy="349508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7772400" cy="146304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9" y="1"/>
            <a:ext cx="373075" cy="124846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37205" tIns="349763" rIns="437205" bIns="349763" numCol="1" spcCol="0" rtlCol="0" fromWordArt="0" anchor="t" anchorCtr="0" forceAA="0" compatLnSpc="1">
            <a:prstTxWarp prst="textNoShape">
              <a:avLst/>
            </a:prstTxWarp>
            <a:noAutofit/>
          </a:bodyPr>
          <a:lstStyle/>
          <a:p>
            <a:pPr marL="0" marR="0" lvl="0" indent="0" algn="ctr" defTabSz="2229056" rtl="0" eaLnBrk="1" fontAlgn="base" latinLnBrk="0" hangingPunct="1">
              <a:lnSpc>
                <a:spcPct val="90000"/>
              </a:lnSpc>
              <a:spcBef>
                <a:spcPct val="0"/>
              </a:spcBef>
              <a:spcAft>
                <a:spcPct val="0"/>
              </a:spcAft>
              <a:buClrTx/>
              <a:buSzTx/>
              <a:buFontTx/>
              <a:buNone/>
              <a:tabLst/>
              <a:defRPr/>
            </a:pPr>
            <a:endParaRPr kumimoji="0" lang="en-US" sz="573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2"/>
            <a:ext cx="186538" cy="624231"/>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37205" tIns="349763" rIns="437205" bIns="349763" numCol="1" spcCol="0" rtlCol="0" fromWordArt="0" anchor="t" anchorCtr="0" forceAA="0" compatLnSpc="1">
            <a:prstTxWarp prst="textNoShape">
              <a:avLst/>
            </a:prstTxWarp>
            <a:noAutofit/>
          </a:bodyPr>
          <a:lstStyle/>
          <a:p>
            <a:pPr marL="0" marR="0" lvl="0" indent="0" algn="ctr" defTabSz="2229056" rtl="0" eaLnBrk="1" fontAlgn="base" latinLnBrk="0" hangingPunct="1">
              <a:lnSpc>
                <a:spcPct val="90000"/>
              </a:lnSpc>
              <a:spcBef>
                <a:spcPct val="0"/>
              </a:spcBef>
              <a:spcAft>
                <a:spcPct val="0"/>
              </a:spcAft>
              <a:buClrTx/>
              <a:buSzTx/>
              <a:buFontTx/>
              <a:buNone/>
              <a:tabLst/>
              <a:defRPr/>
            </a:pPr>
            <a:endParaRPr kumimoji="0" lang="en-US" sz="573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4782788" y="3172268"/>
            <a:ext cx="7736226" cy="1391690"/>
          </a:xfrm>
          <a:prstGeom prst="rect">
            <a:avLst/>
          </a:prstGeom>
        </p:spPr>
      </p:pic>
    </p:spTree>
    <p:extLst>
      <p:ext uri="{BB962C8B-B14F-4D97-AF65-F5344CB8AC3E}">
        <p14:creationId xmlns:p14="http://schemas.microsoft.com/office/powerpoint/2010/main" val="2248830696"/>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2229702" rtl="0" eaLnBrk="1" latinLnBrk="0" hangingPunct="1">
        <a:lnSpc>
          <a:spcPct val="100000"/>
        </a:lnSpc>
        <a:spcBef>
          <a:spcPct val="0"/>
        </a:spcBef>
        <a:buNone/>
        <a:defRPr lang="en-US" sz="6640" b="0" kern="1200" cap="none" spc="-120" baseline="0" dirty="0" smtClean="0">
          <a:ln w="3175">
            <a:noFill/>
          </a:ln>
          <a:solidFill>
            <a:schemeClr val="tx1"/>
          </a:solidFill>
          <a:effectLst/>
          <a:latin typeface="+mj-lt"/>
          <a:ea typeface="+mn-ea"/>
          <a:cs typeface="Segoe UI" pitchFamily="34" charset="0"/>
        </a:defRPr>
      </a:lvl1pPr>
    </p:titleStyle>
    <p:bodyStyle>
      <a:lvl1pPr marL="546465" marR="0" indent="-546465" algn="l" defTabSz="222970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4981" kern="1200" spc="0" baseline="0">
          <a:solidFill>
            <a:schemeClr val="tx1"/>
          </a:solidFill>
          <a:latin typeface="+mn-lt"/>
          <a:ea typeface="+mn-ea"/>
          <a:cs typeface="Segoe UI" panose="020B0502040204020203" pitchFamily="34" charset="0"/>
        </a:defRPr>
      </a:lvl1pPr>
      <a:lvl2pPr marL="1092927" marR="0" indent="-546465" algn="l" defTabSz="222970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321" kern="1200" spc="0" baseline="0">
          <a:solidFill>
            <a:schemeClr val="tx1"/>
          </a:solidFill>
          <a:latin typeface="+mn-lt"/>
          <a:ea typeface="+mn-ea"/>
          <a:cs typeface="+mn-cs"/>
        </a:defRPr>
      </a:lvl2pPr>
      <a:lvl3pPr marL="1571084" marR="0" indent="-478158" algn="l" defTabSz="222970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656" kern="1200" spc="0" baseline="0">
          <a:solidFill>
            <a:schemeClr val="tx1"/>
          </a:solidFill>
          <a:latin typeface="+mn-lt"/>
          <a:ea typeface="+mn-ea"/>
          <a:cs typeface="+mn-cs"/>
        </a:defRPr>
      </a:lvl3pPr>
      <a:lvl4pPr marL="2015086" marR="0" indent="-432617" algn="l" defTabSz="222970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324" kern="1200" spc="0" baseline="0">
          <a:solidFill>
            <a:schemeClr val="tx1"/>
          </a:solidFill>
          <a:latin typeface="+mn-lt"/>
          <a:ea typeface="+mn-ea"/>
          <a:cs typeface="+mn-cs"/>
        </a:defRPr>
      </a:lvl4pPr>
      <a:lvl5pPr marL="2447704" marR="0" indent="-402258" algn="l" defTabSz="222970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324" kern="1200" spc="0" baseline="0">
          <a:solidFill>
            <a:schemeClr val="tx1"/>
          </a:solidFill>
          <a:latin typeface="+mn-lt"/>
          <a:ea typeface="+mn-ea"/>
          <a:cs typeface="+mn-cs"/>
        </a:defRPr>
      </a:lvl5pPr>
      <a:lvl6pPr marL="6131679" indent="-557427" algn="l" defTabSz="2229702" rtl="0" eaLnBrk="1" latinLnBrk="0" hangingPunct="1">
        <a:spcBef>
          <a:spcPct val="20000"/>
        </a:spcBef>
        <a:buFont typeface="Arial" pitchFamily="34" charset="0"/>
        <a:buChar char="•"/>
        <a:defRPr sz="4782" kern="1200">
          <a:solidFill>
            <a:schemeClr val="tx1"/>
          </a:solidFill>
          <a:latin typeface="+mn-lt"/>
          <a:ea typeface="+mn-ea"/>
          <a:cs typeface="+mn-cs"/>
        </a:defRPr>
      </a:lvl6pPr>
      <a:lvl7pPr marL="7246530" indent="-557427" algn="l" defTabSz="2229702" rtl="0" eaLnBrk="1" latinLnBrk="0" hangingPunct="1">
        <a:spcBef>
          <a:spcPct val="20000"/>
        </a:spcBef>
        <a:buFont typeface="Arial" pitchFamily="34" charset="0"/>
        <a:buChar char="•"/>
        <a:defRPr sz="4782" kern="1200">
          <a:solidFill>
            <a:schemeClr val="tx1"/>
          </a:solidFill>
          <a:latin typeface="+mn-lt"/>
          <a:ea typeface="+mn-ea"/>
          <a:cs typeface="+mn-cs"/>
        </a:defRPr>
      </a:lvl7pPr>
      <a:lvl8pPr marL="8361384" indent="-557427" algn="l" defTabSz="2229702" rtl="0" eaLnBrk="1" latinLnBrk="0" hangingPunct="1">
        <a:spcBef>
          <a:spcPct val="20000"/>
        </a:spcBef>
        <a:buFont typeface="Arial" pitchFamily="34" charset="0"/>
        <a:buChar char="•"/>
        <a:defRPr sz="4782" kern="1200">
          <a:solidFill>
            <a:schemeClr val="tx1"/>
          </a:solidFill>
          <a:latin typeface="+mn-lt"/>
          <a:ea typeface="+mn-ea"/>
          <a:cs typeface="+mn-cs"/>
        </a:defRPr>
      </a:lvl8pPr>
      <a:lvl9pPr marL="9476236" indent="-557427" algn="l" defTabSz="2229702" rtl="0" eaLnBrk="1" latinLnBrk="0" hangingPunct="1">
        <a:spcBef>
          <a:spcPct val="20000"/>
        </a:spcBef>
        <a:buFont typeface="Arial" pitchFamily="34" charset="0"/>
        <a:buChar char="•"/>
        <a:defRPr sz="4782" kern="1200">
          <a:solidFill>
            <a:schemeClr val="tx1"/>
          </a:solidFill>
          <a:latin typeface="+mn-lt"/>
          <a:ea typeface="+mn-ea"/>
          <a:cs typeface="+mn-cs"/>
        </a:defRPr>
      </a:lvl9pPr>
    </p:bodyStyle>
    <p:otherStyle>
      <a:defPPr>
        <a:defRPr lang="en-US"/>
      </a:defPPr>
      <a:lvl1pPr marL="0" algn="l" defTabSz="2229702" rtl="0" eaLnBrk="1" latinLnBrk="0" hangingPunct="1">
        <a:defRPr sz="4303" kern="1200">
          <a:solidFill>
            <a:schemeClr val="tx1"/>
          </a:solidFill>
          <a:latin typeface="+mn-lt"/>
          <a:ea typeface="+mn-ea"/>
          <a:cs typeface="+mn-cs"/>
        </a:defRPr>
      </a:lvl1pPr>
      <a:lvl2pPr marL="1114852" algn="l" defTabSz="2229702" rtl="0" eaLnBrk="1" latinLnBrk="0" hangingPunct="1">
        <a:defRPr sz="4303" kern="1200">
          <a:solidFill>
            <a:schemeClr val="tx1"/>
          </a:solidFill>
          <a:latin typeface="+mn-lt"/>
          <a:ea typeface="+mn-ea"/>
          <a:cs typeface="+mn-cs"/>
        </a:defRPr>
      </a:lvl2pPr>
      <a:lvl3pPr marL="2229702" algn="l" defTabSz="2229702" rtl="0" eaLnBrk="1" latinLnBrk="0" hangingPunct="1">
        <a:defRPr sz="4303" kern="1200">
          <a:solidFill>
            <a:schemeClr val="tx1"/>
          </a:solidFill>
          <a:latin typeface="+mn-lt"/>
          <a:ea typeface="+mn-ea"/>
          <a:cs typeface="+mn-cs"/>
        </a:defRPr>
      </a:lvl3pPr>
      <a:lvl4pPr marL="3344553" algn="l" defTabSz="2229702" rtl="0" eaLnBrk="1" latinLnBrk="0" hangingPunct="1">
        <a:defRPr sz="4303" kern="1200">
          <a:solidFill>
            <a:schemeClr val="tx1"/>
          </a:solidFill>
          <a:latin typeface="+mn-lt"/>
          <a:ea typeface="+mn-ea"/>
          <a:cs typeface="+mn-cs"/>
        </a:defRPr>
      </a:lvl4pPr>
      <a:lvl5pPr marL="4459404" algn="l" defTabSz="2229702" rtl="0" eaLnBrk="1" latinLnBrk="0" hangingPunct="1">
        <a:defRPr sz="4303" kern="1200">
          <a:solidFill>
            <a:schemeClr val="tx1"/>
          </a:solidFill>
          <a:latin typeface="+mn-lt"/>
          <a:ea typeface="+mn-ea"/>
          <a:cs typeface="+mn-cs"/>
        </a:defRPr>
      </a:lvl5pPr>
      <a:lvl6pPr marL="5574258" algn="l" defTabSz="2229702" rtl="0" eaLnBrk="1" latinLnBrk="0" hangingPunct="1">
        <a:defRPr sz="4303" kern="1200">
          <a:solidFill>
            <a:schemeClr val="tx1"/>
          </a:solidFill>
          <a:latin typeface="+mn-lt"/>
          <a:ea typeface="+mn-ea"/>
          <a:cs typeface="+mn-cs"/>
        </a:defRPr>
      </a:lvl6pPr>
      <a:lvl7pPr marL="6689106" algn="l" defTabSz="2229702" rtl="0" eaLnBrk="1" latinLnBrk="0" hangingPunct="1">
        <a:defRPr sz="4303" kern="1200">
          <a:solidFill>
            <a:schemeClr val="tx1"/>
          </a:solidFill>
          <a:latin typeface="+mn-lt"/>
          <a:ea typeface="+mn-ea"/>
          <a:cs typeface="+mn-cs"/>
        </a:defRPr>
      </a:lvl7pPr>
      <a:lvl8pPr marL="7803958" algn="l" defTabSz="2229702" rtl="0" eaLnBrk="1" latinLnBrk="0" hangingPunct="1">
        <a:defRPr sz="4303" kern="1200">
          <a:solidFill>
            <a:schemeClr val="tx1"/>
          </a:solidFill>
          <a:latin typeface="+mn-lt"/>
          <a:ea typeface="+mn-ea"/>
          <a:cs typeface="+mn-cs"/>
        </a:defRPr>
      </a:lvl8pPr>
      <a:lvl9pPr marL="8918810" algn="l" defTabSz="2229702" rtl="0" eaLnBrk="1" latinLnBrk="0" hangingPunct="1">
        <a:defRPr sz="4303"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p15:clr>
            <a:srgbClr val="C35EA4"/>
          </p15:clr>
        </p15:guide>
        <p15:guide id="17" pos="4663">
          <p15:clr>
            <a:srgbClr val="C35EA4"/>
          </p15:clr>
        </p15:guide>
        <p15:guide id="25" orient="horz" pos="838">
          <p15:clr>
            <a:srgbClr val="C35EA4"/>
          </p15:clr>
        </p15:guide>
        <p15:guide id="26" orient="horz" pos="1849">
          <p15:clr>
            <a:srgbClr val="C35EA4"/>
          </p15:clr>
        </p15:guide>
        <p15:guide id="27" orient="horz" pos="264">
          <p15:clr>
            <a:srgbClr val="A4A3A4"/>
          </p15:clr>
        </p15:guide>
        <p15:guide id="28" pos="118">
          <p15:clr>
            <a:srgbClr val="A4A3A4"/>
          </p15:clr>
        </p15:guide>
        <p15:guide id="29" orient="horz" pos="9509">
          <p15:clr>
            <a:srgbClr val="A4A3A4"/>
          </p15:clr>
        </p15:guide>
        <p15:guide id="30" pos="4778">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18" Type="http://schemas.openxmlformats.org/officeDocument/2006/relationships/image" Target="../media/image14.png"/><Relationship Id="rId3" Type="http://schemas.openxmlformats.org/officeDocument/2006/relationships/slideLayout" Target="../slideLayouts/slideLayout1.xml"/><Relationship Id="rId21" Type="http://schemas.openxmlformats.org/officeDocument/2006/relationships/image" Target="../media/image17.png"/><Relationship Id="rId7" Type="http://schemas.openxmlformats.org/officeDocument/2006/relationships/image" Target="../media/image3.png"/><Relationship Id="rId12" Type="http://schemas.openxmlformats.org/officeDocument/2006/relationships/image" Target="../media/image8.png"/><Relationship Id="rId17" Type="http://schemas.openxmlformats.org/officeDocument/2006/relationships/image" Target="../media/image13.svg"/><Relationship Id="rId2" Type="http://schemas.openxmlformats.org/officeDocument/2006/relationships/tags" Target="../tags/tag2.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image" Target="../media/image7.svg"/><Relationship Id="rId5" Type="http://schemas.openxmlformats.org/officeDocument/2006/relationships/oleObject" Target="../embeddings/oleObject1.bin"/><Relationship Id="rId15" Type="http://schemas.openxmlformats.org/officeDocument/2006/relationships/image" Target="../media/image11.svg"/><Relationship Id="rId10" Type="http://schemas.openxmlformats.org/officeDocument/2006/relationships/image" Target="../media/image6.png"/><Relationship Id="rId19" Type="http://schemas.openxmlformats.org/officeDocument/2006/relationships/image" Target="../media/image15.svg"/><Relationship Id="rId4" Type="http://schemas.openxmlformats.org/officeDocument/2006/relationships/notesSlide" Target="../notesSlides/notesSlide1.xml"/><Relationship Id="rId9" Type="http://schemas.openxmlformats.org/officeDocument/2006/relationships/image" Target="../media/image5.svg"/><Relationship Id="rId1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4E99115F-714C-4105-B9CF-03EBD0FBAD26}"/>
              </a:ext>
            </a:extLst>
          </p:cNvPr>
          <p:cNvSpPr/>
          <p:nvPr/>
        </p:nvSpPr>
        <p:spPr bwMode="auto">
          <a:xfrm>
            <a:off x="-10534" y="2736936"/>
            <a:ext cx="7782934" cy="806967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720" tIns="138176" rIns="172720" bIns="138176" numCol="1" spcCol="0" rtlCol="0" fromWordArt="0" anchor="t" anchorCtr="0" forceAA="0" compatLnSpc="1">
            <a:prstTxWarp prst="textNoShape">
              <a:avLst/>
            </a:prstTxWarp>
            <a:noAutofit/>
          </a:bodyPr>
          <a:lstStyle/>
          <a:p>
            <a:pPr algn="l" defTabSz="880648" rtl="0" fontAlgn="base">
              <a:spcBef>
                <a:spcPct val="0"/>
              </a:spcBef>
              <a:spcAft>
                <a:spcPct val="0"/>
              </a:spcAft>
            </a:pPr>
            <a:endParaRPr lang="fr-fr" sz="1850" dirty="0">
              <a:solidFill>
                <a:srgbClr val="FFFFFF"/>
              </a:solidFill>
              <a:ea typeface="Segoe UI" pitchFamily="34" charset="0"/>
              <a:cs typeface="Segoe UI" pitchFamily="34" charset="0"/>
            </a:endParaRPr>
          </a:p>
        </p:txBody>
      </p:sp>
      <p:sp>
        <p:nvSpPr>
          <p:cNvPr id="86" name="Freeform: Shape 85">
            <a:extLst>
              <a:ext uri="{FF2B5EF4-FFF2-40B4-BE49-F238E27FC236}">
                <a16:creationId xmlns:a16="http://schemas.microsoft.com/office/drawing/2014/main" id="{EE99E252-4FD8-44E3-AF47-9DF842C2957A}"/>
              </a:ext>
            </a:extLst>
          </p:cNvPr>
          <p:cNvSpPr/>
          <p:nvPr/>
        </p:nvSpPr>
        <p:spPr>
          <a:xfrm>
            <a:off x="-10534" y="8370764"/>
            <a:ext cx="7782934" cy="3810003"/>
          </a:xfrm>
          <a:custGeom>
            <a:avLst/>
            <a:gdLst>
              <a:gd name="connsiteX0" fmla="*/ 0 w 7812368"/>
              <a:gd name="connsiteY0" fmla="*/ 0 h 7246338"/>
              <a:gd name="connsiteX1" fmla="*/ 27624 w 7812368"/>
              <a:gd name="connsiteY1" fmla="*/ 5415 h 7246338"/>
              <a:gd name="connsiteX2" fmla="*/ 1433198 w 7812368"/>
              <a:gd name="connsiteY2" fmla="*/ 1227158 h 7246338"/>
              <a:gd name="connsiteX3" fmla="*/ 2196539 w 7812368"/>
              <a:gd name="connsiteY3" fmla="*/ 1047574 h 7246338"/>
              <a:gd name="connsiteX4" fmla="*/ 3767835 w 7812368"/>
              <a:gd name="connsiteY4" fmla="*/ 2083656 h 7246338"/>
              <a:gd name="connsiteX5" fmla="*/ 3822762 w 7812368"/>
              <a:gd name="connsiteY5" fmla="*/ 2083656 h 7246338"/>
              <a:gd name="connsiteX6" fmla="*/ 5607951 w 7812368"/>
              <a:gd name="connsiteY6" fmla="*/ 992460 h 7246338"/>
              <a:gd name="connsiteX7" fmla="*/ 6785577 w 7812368"/>
              <a:gd name="connsiteY7" fmla="*/ 1374689 h 7246338"/>
              <a:gd name="connsiteX8" fmla="*/ 7765733 w 7812368"/>
              <a:gd name="connsiteY8" fmla="*/ 184801 h 7246338"/>
              <a:gd name="connsiteX9" fmla="*/ 7812368 w 7812368"/>
              <a:gd name="connsiteY9" fmla="*/ 162365 h 7246338"/>
              <a:gd name="connsiteX10" fmla="*/ 7812368 w 7812368"/>
              <a:gd name="connsiteY10" fmla="*/ 7246338 h 7246338"/>
              <a:gd name="connsiteX11" fmla="*/ 0 w 7812368"/>
              <a:gd name="connsiteY11" fmla="*/ 7246338 h 724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12368" h="7246338">
                <a:moveTo>
                  <a:pt x="0" y="0"/>
                </a:moveTo>
                <a:lnTo>
                  <a:pt x="27624" y="5415"/>
                </a:lnTo>
                <a:cubicBezTo>
                  <a:pt x="671734" y="157657"/>
                  <a:pt x="1195896" y="620507"/>
                  <a:pt x="1433198" y="1227158"/>
                </a:cubicBezTo>
                <a:cubicBezTo>
                  <a:pt x="1663026" y="1112246"/>
                  <a:pt x="1922096" y="1047574"/>
                  <a:pt x="2196539" y="1047574"/>
                </a:cubicBezTo>
                <a:cubicBezTo>
                  <a:pt x="2901392" y="1047574"/>
                  <a:pt x="3506515" y="1474416"/>
                  <a:pt x="3767835" y="2083656"/>
                </a:cubicBezTo>
                <a:lnTo>
                  <a:pt x="3822762" y="2083656"/>
                </a:lnTo>
                <a:cubicBezTo>
                  <a:pt x="4155129" y="1435799"/>
                  <a:pt x="4829801" y="992460"/>
                  <a:pt x="5607951" y="992460"/>
                </a:cubicBezTo>
                <a:cubicBezTo>
                  <a:pt x="6047921" y="992460"/>
                  <a:pt x="6454898" y="1134366"/>
                  <a:pt x="6785577" y="1374689"/>
                </a:cubicBezTo>
                <a:cubicBezTo>
                  <a:pt x="6941523" y="859998"/>
                  <a:pt x="7298768" y="432812"/>
                  <a:pt x="7765733" y="184801"/>
                </a:cubicBezTo>
                <a:lnTo>
                  <a:pt x="7812368" y="162365"/>
                </a:lnTo>
                <a:lnTo>
                  <a:pt x="7812368" y="7246338"/>
                </a:lnTo>
                <a:lnTo>
                  <a:pt x="0" y="7246338"/>
                </a:lnTo>
                <a:close/>
              </a:path>
            </a:pathLst>
          </a:custGeom>
          <a:solidFill>
            <a:schemeClr val="bg1"/>
          </a:solidFill>
          <a:ln>
            <a:noFill/>
          </a:ln>
          <a:effectLst>
            <a:outerShdw blurRad="1524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650" dirty="0">
              <a:cs typeface="Segoe UI"/>
            </a:endParaRPr>
          </a:p>
        </p:txBody>
      </p:sp>
      <p:sp>
        <p:nvSpPr>
          <p:cNvPr id="4" name="Rectangle 3">
            <a:extLst>
              <a:ext uri="{FF2B5EF4-FFF2-40B4-BE49-F238E27FC236}">
                <a16:creationId xmlns:a16="http://schemas.microsoft.com/office/drawing/2014/main" id="{1CCAC096-2405-42DC-93E6-4A875600C51A}"/>
              </a:ext>
            </a:extLst>
          </p:cNvPr>
          <p:cNvSpPr/>
          <p:nvPr/>
        </p:nvSpPr>
        <p:spPr bwMode="auto">
          <a:xfrm>
            <a:off x="-10534" y="11893464"/>
            <a:ext cx="7782934" cy="27369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588" y="2287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5" imgW="6350000" imgH="6350000" progId="">
                  <p:embed/>
                </p:oleObj>
              </mc:Choice>
              <mc:Fallback>
                <p:oleObj name="think-cell Slide" r:id="rId5" imgW="6350000" imgH="6350000" progId="">
                  <p:embed/>
                  <p:pic>
                    <p:nvPicPr>
                      <p:cNvPr id="6" name="Object 5" hidden="1">
                        <a:extLst>
                          <a:ext uri="{FF2B5EF4-FFF2-40B4-BE49-F238E27FC236}">
                            <a16:creationId xmlns:a16="http://schemas.microsoft.com/office/drawing/2014/main" id="{31A249D2-9EE3-4037-99F5-C405D51E02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2287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7" name="Text Placeholder 1">
            <a:extLst>
              <a:ext uri="{FF2B5EF4-FFF2-40B4-BE49-F238E27FC236}">
                <a16:creationId xmlns:a16="http://schemas.microsoft.com/office/drawing/2014/main" id="{D5CCEF6F-C72F-4A62-A16C-41CAF7709CDD}"/>
              </a:ext>
            </a:extLst>
          </p:cNvPr>
          <p:cNvSpPr>
            <a:spLocks noGrp="1"/>
          </p:cNvSpPr>
          <p:nvPr>
            <p:ph type="body" sz="quarter" idx="10"/>
          </p:nvPr>
        </p:nvSpPr>
        <p:spPr>
          <a:xfrm>
            <a:off x="379558" y="1083224"/>
            <a:ext cx="6638926" cy="492443"/>
          </a:xfrm>
        </p:spPr>
        <p:txBody>
          <a:bodyPr vert="horz" wrap="square" lIns="0" tIns="0" rIns="0" bIns="0" rtlCol="0" anchor="t">
            <a:spAutoFit/>
          </a:bodyPr>
          <a:lstStyle/>
          <a:p>
            <a:pPr algn="l" rtl="0"/>
            <a:r>
              <a:rPr lang="fr-fr" sz="3200" b="0" i="0" u="none" baseline="0" dirty="0"/>
              <a:t>Solution hybride intégrée</a:t>
            </a:r>
            <a:endParaRPr lang="fr-fr" sz="3200" b="0" i="0" u="none" baseline="0" dirty="0">
              <a:cs typeface="Segoe UI Semibold"/>
            </a:endParaRPr>
          </a:p>
        </p:txBody>
      </p:sp>
      <p:sp>
        <p:nvSpPr>
          <p:cNvPr id="88" name="TextBox 87">
            <a:extLst>
              <a:ext uri="{FF2B5EF4-FFF2-40B4-BE49-F238E27FC236}">
                <a16:creationId xmlns:a16="http://schemas.microsoft.com/office/drawing/2014/main" id="{427B512E-D9D9-4385-9F1E-81476FF80B8D}"/>
              </a:ext>
            </a:extLst>
          </p:cNvPr>
          <p:cNvSpPr txBox="1"/>
          <p:nvPr/>
        </p:nvSpPr>
        <p:spPr>
          <a:xfrm>
            <a:off x="391977" y="1637155"/>
            <a:ext cx="3319985" cy="923330"/>
          </a:xfrm>
          <a:prstGeom prst="rect">
            <a:avLst/>
          </a:prstGeom>
          <a:noFill/>
        </p:spPr>
        <p:txBody>
          <a:bodyPr wrap="square" lIns="0" tIns="0" rIns="0" bIns="0" rtlCol="0" anchor="t">
            <a:spAutoFit/>
          </a:bodyPr>
          <a:lstStyle/>
          <a:p>
            <a:r>
              <a:rPr lang="fr-fr" sz="2000" b="0" i="0" u="none" baseline="0" dirty="0">
                <a:latin typeface="+mj-lt"/>
              </a:rPr>
              <a:t>Intégrez les licences Windows Server et SQL Server sur site dans Azure</a:t>
            </a:r>
            <a:r>
              <a:rPr lang="fr-fr" sz="2000" dirty="0">
                <a:latin typeface="+mj-lt"/>
              </a:rPr>
              <a:t> </a:t>
            </a:r>
            <a:endParaRPr lang="fr-fr" sz="2000" b="0" i="0" u="none" baseline="0" dirty="0">
              <a:latin typeface="+mj-lt"/>
              <a:cs typeface="Segoe UI Semibold"/>
            </a:endParaRPr>
          </a:p>
        </p:txBody>
      </p:sp>
      <p:sp>
        <p:nvSpPr>
          <p:cNvPr id="89" name="TextBox 88">
            <a:extLst>
              <a:ext uri="{FF2B5EF4-FFF2-40B4-BE49-F238E27FC236}">
                <a16:creationId xmlns:a16="http://schemas.microsoft.com/office/drawing/2014/main" id="{D961C2DB-9478-4492-968E-D867CABB5F11}"/>
              </a:ext>
            </a:extLst>
          </p:cNvPr>
          <p:cNvSpPr txBox="1"/>
          <p:nvPr/>
        </p:nvSpPr>
        <p:spPr>
          <a:xfrm>
            <a:off x="379553" y="3040183"/>
            <a:ext cx="6863681" cy="984885"/>
          </a:xfrm>
          <a:prstGeom prst="rect">
            <a:avLst/>
          </a:prstGeom>
          <a:noFill/>
        </p:spPr>
        <p:txBody>
          <a:bodyPr wrap="square" lIns="0" tIns="0" rIns="0" bIns="0" anchor="t">
            <a:spAutoFit/>
          </a:bodyPr>
          <a:lstStyle/>
          <a:p>
            <a:pPr algn="ctr" rtl="0"/>
            <a:r>
              <a:rPr lang="fr-fr" sz="1600" b="0" i="0" u="none" baseline="0" dirty="0"/>
              <a:t>Azure a été conçu pour prendre en charge nativement les environnements hybrides dès le départ. Optimisez la valeur des investissements existants dans les licences Windows Server et/ou SQL Server sur site lors de la migration vers Azure.</a:t>
            </a:r>
            <a:endParaRPr lang="fr-fr" sz="1600" b="0" i="0" u="none" baseline="0" dirty="0">
              <a:cs typeface="Segoe UI"/>
            </a:endParaRPr>
          </a:p>
        </p:txBody>
      </p:sp>
      <p:sp>
        <p:nvSpPr>
          <p:cNvPr id="90" name="TextBox 89">
            <a:extLst>
              <a:ext uri="{FF2B5EF4-FFF2-40B4-BE49-F238E27FC236}">
                <a16:creationId xmlns:a16="http://schemas.microsoft.com/office/drawing/2014/main" id="{80201CE1-54EE-4786-AC2D-042178A11508}"/>
              </a:ext>
            </a:extLst>
          </p:cNvPr>
          <p:cNvSpPr txBox="1"/>
          <p:nvPr/>
        </p:nvSpPr>
        <p:spPr>
          <a:xfrm>
            <a:off x="959965" y="12432445"/>
            <a:ext cx="6163864" cy="1384995"/>
          </a:xfrm>
          <a:prstGeom prst="rect">
            <a:avLst/>
          </a:prstGeom>
          <a:noFill/>
        </p:spPr>
        <p:txBody>
          <a:bodyPr wrap="square" lIns="0" tIns="0" rIns="0" bIns="0" rtlCol="0" anchor="t">
            <a:spAutoFit/>
          </a:bodyPr>
          <a:lstStyle/>
          <a:p>
            <a:pPr algn="l" rtl="0"/>
            <a:r>
              <a:rPr lang="fr-fr" sz="1600" b="1" i="0" u="none" baseline="0" dirty="0">
                <a:cs typeface="Segoe UI Light"/>
              </a:rPr>
              <a:t>Les autres fournisseurs de cloud nous ont dit que ce </a:t>
            </a:r>
            <a:br>
              <a:rPr lang="fr-fr" sz="1600" b="1" i="0" u="none" baseline="0" dirty="0">
                <a:cs typeface="Segoe UI Light" panose="020B0502040204020203" pitchFamily="34" charset="0"/>
              </a:rPr>
            </a:br>
            <a:r>
              <a:rPr lang="fr-fr" sz="1600" b="1" i="0" u="none" baseline="0" dirty="0">
                <a:cs typeface="Segoe UI Light"/>
              </a:rPr>
              <a:t>type d</a:t>
            </a:r>
            <a:r>
              <a:rPr lang="fr-FR" sz="1600" b="1" i="0" u="none" baseline="0" dirty="0">
                <a:cs typeface="Segoe UI Light"/>
              </a:rPr>
              <a:t>’</a:t>
            </a:r>
            <a:r>
              <a:rPr lang="fr-fr" sz="1600" b="1" i="0" u="none" baseline="0" dirty="0">
                <a:cs typeface="Segoe UI Light"/>
              </a:rPr>
              <a:t>architecture cloud hybride était impossible…</a:t>
            </a:r>
            <a:r>
              <a:rPr lang="fr-fr" sz="1600" b="0" i="0" u="none" baseline="0" dirty="0">
                <a:cs typeface="Segoe UI Light"/>
              </a:rPr>
              <a:t> </a:t>
            </a:r>
            <a:br>
              <a:rPr lang="fr-fr" sz="1600" b="0" i="0" u="none" baseline="0" dirty="0">
                <a:cs typeface="Segoe UI Light" panose="020B0502040204020203" pitchFamily="34" charset="0"/>
              </a:rPr>
            </a:br>
            <a:r>
              <a:rPr lang="fr-fr" sz="1600" b="0" i="0" u="none" baseline="0" dirty="0">
                <a:cs typeface="Segoe UI Light"/>
              </a:rPr>
              <a:t>nous y sommes parvenus, et nous l</a:t>
            </a:r>
            <a:r>
              <a:rPr lang="fr-FR" sz="1600" b="0" i="0" u="none" baseline="0" dirty="0">
                <a:cs typeface="Segoe UI Light"/>
              </a:rPr>
              <a:t>’</a:t>
            </a:r>
            <a:r>
              <a:rPr lang="fr-fr" sz="1600" b="0" i="0" u="none" baseline="0" dirty="0">
                <a:cs typeface="Segoe UI Light"/>
              </a:rPr>
              <a:t>avons fait d</a:t>
            </a:r>
            <a:r>
              <a:rPr lang="fr-FR" sz="1600" b="0" i="0" u="none" baseline="0" dirty="0">
                <a:cs typeface="Segoe UI Light"/>
              </a:rPr>
              <a:t>’</a:t>
            </a:r>
            <a:r>
              <a:rPr lang="fr-fr" sz="1600" b="0" i="0" u="none" baseline="0" dirty="0">
                <a:cs typeface="Segoe UI Light"/>
              </a:rPr>
              <a:t>une manière </a:t>
            </a:r>
            <a:br>
              <a:rPr lang="fr-fr" sz="1600" b="0" i="0" u="none" baseline="0" dirty="0">
                <a:cs typeface="Segoe UI Light" panose="020B0502040204020203" pitchFamily="34" charset="0"/>
              </a:rPr>
            </a:br>
            <a:r>
              <a:rPr lang="fr-fr" sz="1600" b="0" i="0" u="none" baseline="0" dirty="0">
                <a:cs typeface="Segoe UI Light"/>
              </a:rPr>
              <a:t>très performante et très simple à configurer.</a:t>
            </a:r>
            <a:endParaRPr lang="fr-fr" sz="1600" dirty="0">
              <a:cs typeface="Segoe UI Light"/>
            </a:endParaRPr>
          </a:p>
          <a:p>
            <a:pPr algn="l" rtl="0">
              <a:spcBef>
                <a:spcPts val="1200"/>
              </a:spcBef>
            </a:pPr>
            <a:r>
              <a:rPr lang="fr-fr" sz="1600" b="0" i="0" u="none" baseline="0" dirty="0">
                <a:cs typeface="Segoe UI Light"/>
              </a:rPr>
              <a:t>Tom Phillips</a:t>
            </a:r>
            <a:r>
              <a:rPr lang="fr-fr" sz="1600" b="0" i="0" u="none" baseline="0" dirty="0">
                <a:solidFill>
                  <a:schemeClr val="accent1"/>
                </a:solidFill>
                <a:cs typeface="Segoe UI Light"/>
              </a:rPr>
              <a:t>, VP des données et de l</a:t>
            </a:r>
            <a:r>
              <a:rPr lang="fr-FR" sz="1600" b="0" i="0" u="none" baseline="0" dirty="0">
                <a:solidFill>
                  <a:schemeClr val="accent1"/>
                </a:solidFill>
                <a:cs typeface="Segoe UI Light"/>
              </a:rPr>
              <a:t>’</a:t>
            </a:r>
            <a:r>
              <a:rPr lang="fr-fr" sz="1600" b="0" i="0" u="none" baseline="0" dirty="0">
                <a:solidFill>
                  <a:schemeClr val="accent1"/>
                </a:solidFill>
                <a:cs typeface="Segoe UI Light"/>
              </a:rPr>
              <a:t>infrastructure, </a:t>
            </a:r>
            <a:r>
              <a:rPr lang="fr-fr" sz="1600" b="0" i="0" u="none" baseline="0" err="1">
                <a:solidFill>
                  <a:schemeClr val="accent1"/>
                </a:solidFill>
                <a:cs typeface="Segoe UI Light"/>
              </a:rPr>
              <a:t>Ambit</a:t>
            </a:r>
            <a:r>
              <a:rPr lang="fr-fr" sz="1600" b="0" i="0" u="none" baseline="0" dirty="0">
                <a:solidFill>
                  <a:schemeClr val="accent1"/>
                </a:solidFill>
                <a:cs typeface="Segoe UI Light"/>
              </a:rPr>
              <a:t> Energy</a:t>
            </a:r>
          </a:p>
        </p:txBody>
      </p:sp>
      <p:pic>
        <p:nvPicPr>
          <p:cNvPr id="92" name="Picture 91" descr="A picture containing drawing&#10;&#10;Description automatically generated">
            <a:extLst>
              <a:ext uri="{FF2B5EF4-FFF2-40B4-BE49-F238E27FC236}">
                <a16:creationId xmlns:a16="http://schemas.microsoft.com/office/drawing/2014/main" id="{6CC58298-3D35-430D-A8FA-4800F763A099}"/>
              </a:ext>
            </a:extLst>
          </p:cNvPr>
          <p:cNvPicPr>
            <a:picLocks noChangeAspect="1"/>
          </p:cNvPicPr>
          <p:nvPr/>
        </p:nvPicPr>
        <p:blipFill>
          <a:blip r:embed="rId7"/>
          <a:stretch>
            <a:fillRect/>
          </a:stretch>
        </p:blipFill>
        <p:spPr>
          <a:xfrm>
            <a:off x="72194" y="60574"/>
            <a:ext cx="2070011" cy="927791"/>
          </a:xfrm>
          <a:prstGeom prst="rect">
            <a:avLst/>
          </a:prstGeom>
        </p:spPr>
      </p:pic>
      <p:pic>
        <p:nvPicPr>
          <p:cNvPr id="93" name="Graphic 92">
            <a:extLst>
              <a:ext uri="{FF2B5EF4-FFF2-40B4-BE49-F238E27FC236}">
                <a16:creationId xmlns:a16="http://schemas.microsoft.com/office/drawing/2014/main" id="{904C546F-0BCC-4A57-B257-5E30458205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06411" y="9533897"/>
            <a:ext cx="1176479" cy="959374"/>
          </a:xfrm>
          <a:prstGeom prst="rect">
            <a:avLst/>
          </a:prstGeom>
        </p:spPr>
      </p:pic>
      <p:pic>
        <p:nvPicPr>
          <p:cNvPr id="94" name="Graphic 93">
            <a:extLst>
              <a:ext uri="{FF2B5EF4-FFF2-40B4-BE49-F238E27FC236}">
                <a16:creationId xmlns:a16="http://schemas.microsoft.com/office/drawing/2014/main" id="{98ECF06A-169B-4AFB-8377-7DCF173D6C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32356" y="9563040"/>
            <a:ext cx="1802172" cy="901087"/>
          </a:xfrm>
          <a:prstGeom prst="rect">
            <a:avLst/>
          </a:prstGeom>
        </p:spPr>
      </p:pic>
      <p:sp>
        <p:nvSpPr>
          <p:cNvPr id="148" name="Rectangle 147">
            <a:extLst>
              <a:ext uri="{FF2B5EF4-FFF2-40B4-BE49-F238E27FC236}">
                <a16:creationId xmlns:a16="http://schemas.microsoft.com/office/drawing/2014/main" id="{479BE3B4-2862-4572-89F8-B3546D5447BA}"/>
              </a:ext>
            </a:extLst>
          </p:cNvPr>
          <p:cNvSpPr/>
          <p:nvPr/>
        </p:nvSpPr>
        <p:spPr>
          <a:xfrm>
            <a:off x="513983" y="10780445"/>
            <a:ext cx="2096029" cy="692497"/>
          </a:xfrm>
          <a:prstGeom prst="rect">
            <a:avLst/>
          </a:prstGeom>
          <a:noFill/>
        </p:spPr>
        <p:txBody>
          <a:bodyPr wrap="square" lIns="0" tIns="0" rIns="0" bIns="0" anchor="t">
            <a:spAutoFit/>
          </a:bodyPr>
          <a:lstStyle/>
          <a:p>
            <a:pPr algn="ctr" rtl="0"/>
            <a:r>
              <a:rPr lang="fr-fr" sz="1500" b="0" i="0" u="none" baseline="0"/>
              <a:t>Azure est le meilleur cloud pour Windows Server et SQL Server</a:t>
            </a:r>
            <a:endParaRPr lang="fr-fr" sz="1500" b="0" i="0" u="none" baseline="0" dirty="0">
              <a:cs typeface="Segoe UI"/>
            </a:endParaRPr>
          </a:p>
        </p:txBody>
      </p:sp>
      <p:sp>
        <p:nvSpPr>
          <p:cNvPr id="149" name="Rectangle 148">
            <a:extLst>
              <a:ext uri="{FF2B5EF4-FFF2-40B4-BE49-F238E27FC236}">
                <a16:creationId xmlns:a16="http://schemas.microsoft.com/office/drawing/2014/main" id="{715AEE9F-71BE-41D6-B967-76D67F31A006}"/>
              </a:ext>
            </a:extLst>
          </p:cNvPr>
          <p:cNvSpPr/>
          <p:nvPr/>
        </p:nvSpPr>
        <p:spPr>
          <a:xfrm>
            <a:off x="2785430" y="10780446"/>
            <a:ext cx="2116507" cy="692497"/>
          </a:xfrm>
          <a:prstGeom prst="rect">
            <a:avLst/>
          </a:prstGeom>
          <a:noFill/>
        </p:spPr>
        <p:txBody>
          <a:bodyPr wrap="square" lIns="0" tIns="0" rIns="0" bIns="0" anchor="t">
            <a:spAutoFit/>
          </a:bodyPr>
          <a:lstStyle/>
          <a:p>
            <a:pPr algn="ctr" rtl="0"/>
            <a:r>
              <a:rPr lang="fr-fr" sz="1500" b="0" i="0" u="none" baseline="0" dirty="0"/>
              <a:t>AWS est 5 x plus cher qu</a:t>
            </a:r>
            <a:r>
              <a:rPr lang="fr-FR" sz="1500" b="0" i="0" u="none" baseline="0" dirty="0"/>
              <a:t>’</a:t>
            </a:r>
            <a:r>
              <a:rPr lang="fr-fr" sz="1500" b="0" i="0" u="none" baseline="0" dirty="0"/>
              <a:t>Azure pour Windows Server et SQL Server*</a:t>
            </a:r>
            <a:endParaRPr lang="fr-fr" sz="1500" b="0" i="0" u="none" baseline="0" dirty="0">
              <a:cs typeface="Segoe UI"/>
            </a:endParaRPr>
          </a:p>
        </p:txBody>
      </p:sp>
      <p:sp>
        <p:nvSpPr>
          <p:cNvPr id="150" name="Rectangle 149">
            <a:extLst>
              <a:ext uri="{FF2B5EF4-FFF2-40B4-BE49-F238E27FC236}">
                <a16:creationId xmlns:a16="http://schemas.microsoft.com/office/drawing/2014/main" id="{C844CAF7-71F1-41E1-B586-4053401F8C6C}"/>
              </a:ext>
            </a:extLst>
          </p:cNvPr>
          <p:cNvSpPr/>
          <p:nvPr/>
        </p:nvSpPr>
        <p:spPr>
          <a:xfrm>
            <a:off x="5036401" y="10780444"/>
            <a:ext cx="2291924" cy="1154162"/>
          </a:xfrm>
          <a:prstGeom prst="rect">
            <a:avLst/>
          </a:prstGeom>
          <a:noFill/>
        </p:spPr>
        <p:txBody>
          <a:bodyPr wrap="square" lIns="0" tIns="0" rIns="0" bIns="0" anchor="t">
            <a:spAutoFit/>
          </a:bodyPr>
          <a:lstStyle/>
          <a:p>
            <a:pPr algn="ctr" rtl="0"/>
            <a:r>
              <a:rPr lang="fr-fr" sz="1500" b="0" i="0" u="none" baseline="0" dirty="0"/>
              <a:t>Faites des économies dans Azure Virtual Machines, </a:t>
            </a:r>
            <a:br>
              <a:rPr lang="fr-fr" sz="1500" b="0" i="0" u="none" baseline="0" dirty="0"/>
            </a:br>
            <a:r>
              <a:rPr lang="fr-fr" sz="1500" b="0" i="0" u="none" baseline="0" dirty="0"/>
              <a:t>les services Azure SQL </a:t>
            </a:r>
            <a:r>
              <a:rPr lang="fr-fr" sz="1500" b="0" i="0" u="none" baseline="0" err="1"/>
              <a:t>Database</a:t>
            </a:r>
            <a:r>
              <a:rPr lang="fr-fr" sz="1500" b="0" i="0" u="none" baseline="0" dirty="0"/>
              <a:t> PaaS et Azure </a:t>
            </a:r>
            <a:r>
              <a:rPr lang="fr-fr" sz="1500" b="0" i="0" u="none" baseline="0" err="1"/>
              <a:t>Dedicated</a:t>
            </a:r>
            <a:r>
              <a:rPr lang="fr-fr" sz="1500" b="0" i="0" u="none" baseline="0" dirty="0"/>
              <a:t> Host</a:t>
            </a:r>
            <a:endParaRPr lang="fr-fr" sz="1500" b="0" i="0" u="none" baseline="0" dirty="0">
              <a:cs typeface="Segoe UI"/>
            </a:endParaRPr>
          </a:p>
        </p:txBody>
      </p:sp>
      <p:sp>
        <p:nvSpPr>
          <p:cNvPr id="151" name="Freeform: Shape 150">
            <a:extLst>
              <a:ext uri="{FF2B5EF4-FFF2-40B4-BE49-F238E27FC236}">
                <a16:creationId xmlns:a16="http://schemas.microsoft.com/office/drawing/2014/main" id="{21A5CEBB-CAA1-4D14-BA87-41B8742592B0}"/>
              </a:ext>
            </a:extLst>
          </p:cNvPr>
          <p:cNvSpPr/>
          <p:nvPr/>
        </p:nvSpPr>
        <p:spPr>
          <a:xfrm>
            <a:off x="4031177" y="10416675"/>
            <a:ext cx="347693" cy="119946"/>
          </a:xfrm>
          <a:custGeom>
            <a:avLst/>
            <a:gdLst>
              <a:gd name="connsiteX0" fmla="*/ 57517 w 184669"/>
              <a:gd name="connsiteY0" fmla="*/ 62673 h 63707"/>
              <a:gd name="connsiteX1" fmla="*/ 46296 w 184669"/>
              <a:gd name="connsiteY1" fmla="*/ 62673 h 63707"/>
              <a:gd name="connsiteX2" fmla="*/ 40752 w 184669"/>
              <a:gd name="connsiteY2" fmla="*/ 46985 h 63707"/>
              <a:gd name="connsiteX3" fmla="*/ 16507 w 184669"/>
              <a:gd name="connsiteY3" fmla="*/ 46985 h 63707"/>
              <a:gd name="connsiteX4" fmla="*/ 11175 w 184669"/>
              <a:gd name="connsiteY4" fmla="*/ 62673 h 63707"/>
              <a:gd name="connsiteX5" fmla="*/ 0 w 184669"/>
              <a:gd name="connsiteY5" fmla="*/ 62673 h 63707"/>
              <a:gd name="connsiteX6" fmla="*/ 23085 w 184669"/>
              <a:gd name="connsiteY6" fmla="*/ 1031 h 63707"/>
              <a:gd name="connsiteX7" fmla="*/ 34604 w 184669"/>
              <a:gd name="connsiteY7" fmla="*/ 1031 h 63707"/>
              <a:gd name="connsiteX8" fmla="*/ 57517 w 184669"/>
              <a:gd name="connsiteY8" fmla="*/ 62673 h 63707"/>
              <a:gd name="connsiteX9" fmla="*/ 38044 w 184669"/>
              <a:gd name="connsiteY9" fmla="*/ 38644 h 63707"/>
              <a:gd name="connsiteX10" fmla="*/ 29488 w 184669"/>
              <a:gd name="connsiteY10" fmla="*/ 14058 h 63707"/>
              <a:gd name="connsiteX11" fmla="*/ 28672 w 184669"/>
              <a:gd name="connsiteY11" fmla="*/ 10187 h 63707"/>
              <a:gd name="connsiteX12" fmla="*/ 28500 w 184669"/>
              <a:gd name="connsiteY12" fmla="*/ 10187 h 63707"/>
              <a:gd name="connsiteX13" fmla="*/ 27638 w 184669"/>
              <a:gd name="connsiteY13" fmla="*/ 14058 h 63707"/>
              <a:gd name="connsiteX14" fmla="*/ 19171 w 184669"/>
              <a:gd name="connsiteY14" fmla="*/ 38644 h 63707"/>
              <a:gd name="connsiteX15" fmla="*/ 38044 w 184669"/>
              <a:gd name="connsiteY15" fmla="*/ 38644 h 63707"/>
              <a:gd name="connsiteX16" fmla="*/ 139491 w 184669"/>
              <a:gd name="connsiteY16" fmla="*/ 1031 h 63707"/>
              <a:gd name="connsiteX17" fmla="*/ 122596 w 184669"/>
              <a:gd name="connsiteY17" fmla="*/ 62673 h 63707"/>
              <a:gd name="connsiteX18" fmla="*/ 111034 w 184669"/>
              <a:gd name="connsiteY18" fmla="*/ 62673 h 63707"/>
              <a:gd name="connsiteX19" fmla="*/ 99299 w 184669"/>
              <a:gd name="connsiteY19" fmla="*/ 19559 h 63707"/>
              <a:gd name="connsiteX20" fmla="*/ 98398 w 184669"/>
              <a:gd name="connsiteY20" fmla="*/ 13541 h 63707"/>
              <a:gd name="connsiteX21" fmla="*/ 98226 w 184669"/>
              <a:gd name="connsiteY21" fmla="*/ 13541 h 63707"/>
              <a:gd name="connsiteX22" fmla="*/ 97192 w 184669"/>
              <a:gd name="connsiteY22" fmla="*/ 19473 h 63707"/>
              <a:gd name="connsiteX23" fmla="*/ 85414 w 184669"/>
              <a:gd name="connsiteY23" fmla="*/ 62673 h 63707"/>
              <a:gd name="connsiteX24" fmla="*/ 73593 w 184669"/>
              <a:gd name="connsiteY24" fmla="*/ 62673 h 63707"/>
              <a:gd name="connsiteX25" fmla="*/ 56354 w 184669"/>
              <a:gd name="connsiteY25" fmla="*/ 1031 h 63707"/>
              <a:gd name="connsiteX26" fmla="*/ 67575 w 184669"/>
              <a:gd name="connsiteY26" fmla="*/ 1031 h 63707"/>
              <a:gd name="connsiteX27" fmla="*/ 78753 w 184669"/>
              <a:gd name="connsiteY27" fmla="*/ 46167 h 63707"/>
              <a:gd name="connsiteX28" fmla="*/ 79611 w 184669"/>
              <a:gd name="connsiteY28" fmla="*/ 52099 h 63707"/>
              <a:gd name="connsiteX29" fmla="*/ 79826 w 184669"/>
              <a:gd name="connsiteY29" fmla="*/ 52099 h 63707"/>
              <a:gd name="connsiteX30" fmla="*/ 81029 w 184669"/>
              <a:gd name="connsiteY30" fmla="*/ 46167 h 63707"/>
              <a:gd name="connsiteX31" fmla="*/ 93669 w 184669"/>
              <a:gd name="connsiteY31" fmla="*/ 1031 h 63707"/>
              <a:gd name="connsiteX32" fmla="*/ 104201 w 184669"/>
              <a:gd name="connsiteY32" fmla="*/ 1031 h 63707"/>
              <a:gd name="connsiteX33" fmla="*/ 115892 w 184669"/>
              <a:gd name="connsiteY33" fmla="*/ 46511 h 63707"/>
              <a:gd name="connsiteX34" fmla="*/ 116794 w 184669"/>
              <a:gd name="connsiteY34" fmla="*/ 52012 h 63707"/>
              <a:gd name="connsiteX35" fmla="*/ 116966 w 184669"/>
              <a:gd name="connsiteY35" fmla="*/ 52012 h 63707"/>
              <a:gd name="connsiteX36" fmla="*/ 117957 w 184669"/>
              <a:gd name="connsiteY36" fmla="*/ 46339 h 63707"/>
              <a:gd name="connsiteX37" fmla="*/ 128916 w 184669"/>
              <a:gd name="connsiteY37" fmla="*/ 1031 h 63707"/>
              <a:gd name="connsiteX38" fmla="*/ 139491 w 184669"/>
              <a:gd name="connsiteY38" fmla="*/ 1031 h 63707"/>
              <a:gd name="connsiteX39" fmla="*/ 145207 w 184669"/>
              <a:gd name="connsiteY39" fmla="*/ 60224 h 63707"/>
              <a:gd name="connsiteX40" fmla="*/ 145207 w 184669"/>
              <a:gd name="connsiteY40" fmla="*/ 49693 h 63707"/>
              <a:gd name="connsiteX41" fmla="*/ 148561 w 184669"/>
              <a:gd name="connsiteY41" fmla="*/ 52012 h 63707"/>
              <a:gd name="connsiteX42" fmla="*/ 152730 w 184669"/>
              <a:gd name="connsiteY42" fmla="*/ 53775 h 63707"/>
              <a:gd name="connsiteX43" fmla="*/ 157118 w 184669"/>
              <a:gd name="connsiteY43" fmla="*/ 54853 h 63707"/>
              <a:gd name="connsiteX44" fmla="*/ 161157 w 184669"/>
              <a:gd name="connsiteY44" fmla="*/ 55237 h 63707"/>
              <a:gd name="connsiteX45" fmla="*/ 170741 w 184669"/>
              <a:gd name="connsiteY45" fmla="*/ 53089 h 63707"/>
              <a:gd name="connsiteX46" fmla="*/ 173923 w 184669"/>
              <a:gd name="connsiteY46" fmla="*/ 46856 h 63707"/>
              <a:gd name="connsiteX47" fmla="*/ 172849 w 184669"/>
              <a:gd name="connsiteY47" fmla="*/ 43071 h 63707"/>
              <a:gd name="connsiteX48" fmla="*/ 169926 w 184669"/>
              <a:gd name="connsiteY48" fmla="*/ 40105 h 63707"/>
              <a:gd name="connsiteX49" fmla="*/ 165456 w 184669"/>
              <a:gd name="connsiteY49" fmla="*/ 37570 h 63707"/>
              <a:gd name="connsiteX50" fmla="*/ 159998 w 184669"/>
              <a:gd name="connsiteY50" fmla="*/ 34992 h 63707"/>
              <a:gd name="connsiteX51" fmla="*/ 154152 w 184669"/>
              <a:gd name="connsiteY51" fmla="*/ 31595 h 63707"/>
              <a:gd name="connsiteX52" fmla="*/ 149423 w 184669"/>
              <a:gd name="connsiteY52" fmla="*/ 27814 h 63707"/>
              <a:gd name="connsiteX53" fmla="*/ 146284 w 184669"/>
              <a:gd name="connsiteY53" fmla="*/ 23085 h 63707"/>
              <a:gd name="connsiteX54" fmla="*/ 145164 w 184669"/>
              <a:gd name="connsiteY54" fmla="*/ 16938 h 63707"/>
              <a:gd name="connsiteX55" fmla="*/ 147100 w 184669"/>
              <a:gd name="connsiteY55" fmla="*/ 9415 h 63707"/>
              <a:gd name="connsiteX56" fmla="*/ 152260 w 184669"/>
              <a:gd name="connsiteY56" fmla="*/ 4126 h 63707"/>
              <a:gd name="connsiteX57" fmla="*/ 159567 w 184669"/>
              <a:gd name="connsiteY57" fmla="*/ 1031 h 63707"/>
              <a:gd name="connsiteX58" fmla="*/ 167905 w 184669"/>
              <a:gd name="connsiteY58" fmla="*/ 0 h 63707"/>
              <a:gd name="connsiteX59" fmla="*/ 182005 w 184669"/>
              <a:gd name="connsiteY59" fmla="*/ 2194 h 63707"/>
              <a:gd name="connsiteX60" fmla="*/ 182005 w 184669"/>
              <a:gd name="connsiteY60" fmla="*/ 12295 h 63707"/>
              <a:gd name="connsiteX61" fmla="*/ 168508 w 184669"/>
              <a:gd name="connsiteY61" fmla="*/ 8510 h 63707"/>
              <a:gd name="connsiteX62" fmla="*/ 163951 w 184669"/>
              <a:gd name="connsiteY62" fmla="*/ 8941 h 63707"/>
              <a:gd name="connsiteX63" fmla="*/ 159911 w 184669"/>
              <a:gd name="connsiteY63" fmla="*/ 10359 h 63707"/>
              <a:gd name="connsiteX64" fmla="*/ 157032 w 184669"/>
              <a:gd name="connsiteY64" fmla="*/ 12895 h 63707"/>
              <a:gd name="connsiteX65" fmla="*/ 155911 w 184669"/>
              <a:gd name="connsiteY65" fmla="*/ 16636 h 63707"/>
              <a:gd name="connsiteX66" fmla="*/ 156773 w 184669"/>
              <a:gd name="connsiteY66" fmla="*/ 20205 h 63707"/>
              <a:gd name="connsiteX67" fmla="*/ 159265 w 184669"/>
              <a:gd name="connsiteY67" fmla="*/ 22956 h 63707"/>
              <a:gd name="connsiteX68" fmla="*/ 163305 w 184669"/>
              <a:gd name="connsiteY68" fmla="*/ 25405 h 63707"/>
              <a:gd name="connsiteX69" fmla="*/ 168852 w 184669"/>
              <a:gd name="connsiteY69" fmla="*/ 27940 h 63707"/>
              <a:gd name="connsiteX70" fmla="*/ 174914 w 184669"/>
              <a:gd name="connsiteY70" fmla="*/ 31466 h 63707"/>
              <a:gd name="connsiteX71" fmla="*/ 179941 w 184669"/>
              <a:gd name="connsiteY71" fmla="*/ 35549 h 63707"/>
              <a:gd name="connsiteX72" fmla="*/ 183381 w 184669"/>
              <a:gd name="connsiteY72" fmla="*/ 40536 h 63707"/>
              <a:gd name="connsiteX73" fmla="*/ 184670 w 184669"/>
              <a:gd name="connsiteY73" fmla="*/ 46727 h 63707"/>
              <a:gd name="connsiteX74" fmla="*/ 182781 w 184669"/>
              <a:gd name="connsiteY74" fmla="*/ 54637 h 63707"/>
              <a:gd name="connsiteX75" fmla="*/ 177664 w 184669"/>
              <a:gd name="connsiteY75" fmla="*/ 59880 h 63707"/>
              <a:gd name="connsiteX76" fmla="*/ 170314 w 184669"/>
              <a:gd name="connsiteY76" fmla="*/ 62803 h 63707"/>
              <a:gd name="connsiteX77" fmla="*/ 161502 w 184669"/>
              <a:gd name="connsiteY77" fmla="*/ 63707 h 63707"/>
              <a:gd name="connsiteX78" fmla="*/ 157675 w 184669"/>
              <a:gd name="connsiteY78" fmla="*/ 63449 h 63707"/>
              <a:gd name="connsiteX79" fmla="*/ 153075 w 184669"/>
              <a:gd name="connsiteY79" fmla="*/ 62760 h 63707"/>
              <a:gd name="connsiteX80" fmla="*/ 148604 w 184669"/>
              <a:gd name="connsiteY80" fmla="*/ 61686 h 63707"/>
              <a:gd name="connsiteX81" fmla="*/ 145207 w 184669"/>
              <a:gd name="connsiteY81" fmla="*/ 60224 h 6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4669" h="63707">
                <a:moveTo>
                  <a:pt x="57517" y="62673"/>
                </a:moveTo>
                <a:lnTo>
                  <a:pt x="46296" y="62673"/>
                </a:lnTo>
                <a:lnTo>
                  <a:pt x="40752" y="46985"/>
                </a:lnTo>
                <a:lnTo>
                  <a:pt x="16507" y="46985"/>
                </a:lnTo>
                <a:lnTo>
                  <a:pt x="11175" y="62673"/>
                </a:lnTo>
                <a:lnTo>
                  <a:pt x="0" y="62673"/>
                </a:lnTo>
                <a:lnTo>
                  <a:pt x="23085" y="1031"/>
                </a:lnTo>
                <a:lnTo>
                  <a:pt x="34604" y="1031"/>
                </a:lnTo>
                <a:lnTo>
                  <a:pt x="57517" y="62673"/>
                </a:lnTo>
                <a:close/>
                <a:moveTo>
                  <a:pt x="38044" y="38644"/>
                </a:moveTo>
                <a:lnTo>
                  <a:pt x="29488" y="14058"/>
                </a:lnTo>
                <a:cubicBezTo>
                  <a:pt x="29229" y="13256"/>
                  <a:pt x="28957" y="11963"/>
                  <a:pt x="28672" y="10187"/>
                </a:cubicBezTo>
                <a:lnTo>
                  <a:pt x="28500" y="10187"/>
                </a:lnTo>
                <a:cubicBezTo>
                  <a:pt x="28242" y="11821"/>
                  <a:pt x="27957" y="13110"/>
                  <a:pt x="27638" y="14058"/>
                </a:cubicBezTo>
                <a:lnTo>
                  <a:pt x="19171" y="38644"/>
                </a:lnTo>
                <a:lnTo>
                  <a:pt x="38044" y="38644"/>
                </a:lnTo>
                <a:close/>
                <a:moveTo>
                  <a:pt x="139491" y="1031"/>
                </a:moveTo>
                <a:lnTo>
                  <a:pt x="122596" y="62673"/>
                </a:lnTo>
                <a:lnTo>
                  <a:pt x="111034" y="62673"/>
                </a:lnTo>
                <a:lnTo>
                  <a:pt x="99299" y="19559"/>
                </a:lnTo>
                <a:cubicBezTo>
                  <a:pt x="98812" y="17726"/>
                  <a:pt x="98511" y="15718"/>
                  <a:pt x="98398" y="13541"/>
                </a:cubicBezTo>
                <a:lnTo>
                  <a:pt x="98226" y="13541"/>
                </a:lnTo>
                <a:cubicBezTo>
                  <a:pt x="98080" y="15576"/>
                  <a:pt x="97738" y="17554"/>
                  <a:pt x="97192" y="19473"/>
                </a:cubicBezTo>
                <a:lnTo>
                  <a:pt x="85414" y="62673"/>
                </a:lnTo>
                <a:lnTo>
                  <a:pt x="73593" y="62673"/>
                </a:lnTo>
                <a:lnTo>
                  <a:pt x="56354" y="1031"/>
                </a:lnTo>
                <a:lnTo>
                  <a:pt x="67575" y="1031"/>
                </a:lnTo>
                <a:lnTo>
                  <a:pt x="78753" y="46167"/>
                </a:lnTo>
                <a:cubicBezTo>
                  <a:pt x="79210" y="48059"/>
                  <a:pt x="79495" y="50037"/>
                  <a:pt x="79611" y="52099"/>
                </a:cubicBezTo>
                <a:lnTo>
                  <a:pt x="79826" y="52099"/>
                </a:lnTo>
                <a:cubicBezTo>
                  <a:pt x="79939" y="50637"/>
                  <a:pt x="80343" y="48662"/>
                  <a:pt x="81029" y="46167"/>
                </a:cubicBezTo>
                <a:lnTo>
                  <a:pt x="93669" y="1031"/>
                </a:lnTo>
                <a:lnTo>
                  <a:pt x="104201" y="1031"/>
                </a:lnTo>
                <a:lnTo>
                  <a:pt x="115892" y="46511"/>
                </a:lnTo>
                <a:cubicBezTo>
                  <a:pt x="116293" y="48059"/>
                  <a:pt x="116595" y="49895"/>
                  <a:pt x="116794" y="52012"/>
                </a:cubicBezTo>
                <a:lnTo>
                  <a:pt x="116966" y="52012"/>
                </a:lnTo>
                <a:cubicBezTo>
                  <a:pt x="117052" y="50581"/>
                  <a:pt x="117383" y="48689"/>
                  <a:pt x="117957" y="46339"/>
                </a:cubicBezTo>
                <a:lnTo>
                  <a:pt x="128916" y="1031"/>
                </a:lnTo>
                <a:lnTo>
                  <a:pt x="139491" y="1031"/>
                </a:lnTo>
                <a:close/>
                <a:moveTo>
                  <a:pt x="145207" y="60224"/>
                </a:moveTo>
                <a:lnTo>
                  <a:pt x="145207" y="49693"/>
                </a:lnTo>
                <a:cubicBezTo>
                  <a:pt x="146155" y="50551"/>
                  <a:pt x="147272" y="51326"/>
                  <a:pt x="148561" y="52012"/>
                </a:cubicBezTo>
                <a:cubicBezTo>
                  <a:pt x="149880" y="52702"/>
                  <a:pt x="151269" y="53288"/>
                  <a:pt x="152730" y="53775"/>
                </a:cubicBezTo>
                <a:cubicBezTo>
                  <a:pt x="154192" y="54236"/>
                  <a:pt x="155656" y="54594"/>
                  <a:pt x="157118" y="54853"/>
                </a:cubicBezTo>
                <a:cubicBezTo>
                  <a:pt x="158579" y="55108"/>
                  <a:pt x="159925" y="55237"/>
                  <a:pt x="161157" y="55237"/>
                </a:cubicBezTo>
                <a:cubicBezTo>
                  <a:pt x="165456" y="55237"/>
                  <a:pt x="168650" y="54521"/>
                  <a:pt x="170741" y="53089"/>
                </a:cubicBezTo>
                <a:cubicBezTo>
                  <a:pt x="172862" y="51655"/>
                  <a:pt x="173923" y="49577"/>
                  <a:pt x="173923" y="46856"/>
                </a:cubicBezTo>
                <a:cubicBezTo>
                  <a:pt x="173923" y="45395"/>
                  <a:pt x="173565" y="44132"/>
                  <a:pt x="172849" y="43071"/>
                </a:cubicBezTo>
                <a:cubicBezTo>
                  <a:pt x="172163" y="41984"/>
                  <a:pt x="171189" y="40994"/>
                  <a:pt x="169926" y="40105"/>
                </a:cubicBezTo>
                <a:cubicBezTo>
                  <a:pt x="168667" y="39217"/>
                  <a:pt x="167176" y="38372"/>
                  <a:pt x="165456" y="37570"/>
                </a:cubicBezTo>
                <a:cubicBezTo>
                  <a:pt x="163765" y="36738"/>
                  <a:pt x="161946" y="35880"/>
                  <a:pt x="159998" y="34992"/>
                </a:cubicBezTo>
                <a:cubicBezTo>
                  <a:pt x="157903" y="33875"/>
                  <a:pt x="155955" y="32742"/>
                  <a:pt x="154152" y="31595"/>
                </a:cubicBezTo>
                <a:cubicBezTo>
                  <a:pt x="152346" y="30449"/>
                  <a:pt x="150768" y="29189"/>
                  <a:pt x="149423" y="27814"/>
                </a:cubicBezTo>
                <a:cubicBezTo>
                  <a:pt x="148104" y="26409"/>
                  <a:pt x="147057" y="24831"/>
                  <a:pt x="146284" y="23085"/>
                </a:cubicBezTo>
                <a:cubicBezTo>
                  <a:pt x="145539" y="21335"/>
                  <a:pt x="145164" y="19287"/>
                  <a:pt x="145164" y="16938"/>
                </a:cubicBezTo>
                <a:cubicBezTo>
                  <a:pt x="145164" y="14041"/>
                  <a:pt x="145811" y="11536"/>
                  <a:pt x="147100" y="9415"/>
                </a:cubicBezTo>
                <a:cubicBezTo>
                  <a:pt x="148419" y="7264"/>
                  <a:pt x="150139" y="5501"/>
                  <a:pt x="152260" y="4126"/>
                </a:cubicBezTo>
                <a:cubicBezTo>
                  <a:pt x="154407" y="2724"/>
                  <a:pt x="156843" y="1690"/>
                  <a:pt x="159567" y="1031"/>
                </a:cubicBezTo>
                <a:cubicBezTo>
                  <a:pt x="162288" y="345"/>
                  <a:pt x="165068" y="0"/>
                  <a:pt x="167905" y="0"/>
                </a:cubicBezTo>
                <a:cubicBezTo>
                  <a:pt x="174354" y="0"/>
                  <a:pt x="179053" y="732"/>
                  <a:pt x="182005" y="2194"/>
                </a:cubicBezTo>
                <a:lnTo>
                  <a:pt x="182005" y="12295"/>
                </a:lnTo>
                <a:cubicBezTo>
                  <a:pt x="178509" y="9773"/>
                  <a:pt x="174009" y="8510"/>
                  <a:pt x="168508" y="8510"/>
                </a:cubicBezTo>
                <a:cubicBezTo>
                  <a:pt x="166990" y="8510"/>
                  <a:pt x="165469" y="8656"/>
                  <a:pt x="163951" y="8941"/>
                </a:cubicBezTo>
                <a:cubicBezTo>
                  <a:pt x="162460" y="9229"/>
                  <a:pt x="161114" y="9700"/>
                  <a:pt x="159911" y="10359"/>
                </a:cubicBezTo>
                <a:cubicBezTo>
                  <a:pt x="158735" y="11019"/>
                  <a:pt x="157774" y="11864"/>
                  <a:pt x="157032" y="12895"/>
                </a:cubicBezTo>
                <a:cubicBezTo>
                  <a:pt x="156286" y="13929"/>
                  <a:pt x="155911" y="15175"/>
                  <a:pt x="155911" y="16636"/>
                </a:cubicBezTo>
                <a:cubicBezTo>
                  <a:pt x="155911" y="18011"/>
                  <a:pt x="156200" y="19201"/>
                  <a:pt x="156773" y="20205"/>
                </a:cubicBezTo>
                <a:cubicBezTo>
                  <a:pt x="157346" y="21206"/>
                  <a:pt x="158178" y="22124"/>
                  <a:pt x="159265" y="22956"/>
                </a:cubicBezTo>
                <a:cubicBezTo>
                  <a:pt x="160382" y="23788"/>
                  <a:pt x="161731" y="24603"/>
                  <a:pt x="163305" y="25405"/>
                </a:cubicBezTo>
                <a:cubicBezTo>
                  <a:pt x="164912" y="26180"/>
                  <a:pt x="166758" y="27025"/>
                  <a:pt x="168852" y="27940"/>
                </a:cubicBezTo>
                <a:cubicBezTo>
                  <a:pt x="171000" y="29060"/>
                  <a:pt x="173021" y="30233"/>
                  <a:pt x="174914" y="31466"/>
                </a:cubicBezTo>
                <a:cubicBezTo>
                  <a:pt x="176832" y="32699"/>
                  <a:pt x="178509" y="34061"/>
                  <a:pt x="179941" y="35549"/>
                </a:cubicBezTo>
                <a:cubicBezTo>
                  <a:pt x="181402" y="37040"/>
                  <a:pt x="182549" y="38704"/>
                  <a:pt x="183381" y="40536"/>
                </a:cubicBezTo>
                <a:cubicBezTo>
                  <a:pt x="184242" y="42342"/>
                  <a:pt x="184670" y="44407"/>
                  <a:pt x="184670" y="46727"/>
                </a:cubicBezTo>
                <a:cubicBezTo>
                  <a:pt x="184670" y="49852"/>
                  <a:pt x="184040" y="52486"/>
                  <a:pt x="182781" y="54637"/>
                </a:cubicBezTo>
                <a:cubicBezTo>
                  <a:pt x="181518" y="56785"/>
                  <a:pt x="179812" y="58534"/>
                  <a:pt x="177664" y="59880"/>
                </a:cubicBezTo>
                <a:cubicBezTo>
                  <a:pt x="175543" y="61229"/>
                  <a:pt x="173094" y="62203"/>
                  <a:pt x="170314" y="62803"/>
                </a:cubicBezTo>
                <a:cubicBezTo>
                  <a:pt x="167534" y="63406"/>
                  <a:pt x="164597" y="63707"/>
                  <a:pt x="161502" y="63707"/>
                </a:cubicBezTo>
                <a:cubicBezTo>
                  <a:pt x="160468" y="63707"/>
                  <a:pt x="159192" y="63621"/>
                  <a:pt x="157675" y="63449"/>
                </a:cubicBezTo>
                <a:cubicBezTo>
                  <a:pt x="156183" y="63306"/>
                  <a:pt x="154652" y="63074"/>
                  <a:pt x="153075" y="62760"/>
                </a:cubicBezTo>
                <a:cubicBezTo>
                  <a:pt x="151501" y="62475"/>
                  <a:pt x="150009" y="62117"/>
                  <a:pt x="148604" y="61686"/>
                </a:cubicBezTo>
                <a:cubicBezTo>
                  <a:pt x="147199" y="61255"/>
                  <a:pt x="146069" y="60768"/>
                  <a:pt x="145207" y="60224"/>
                </a:cubicBez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grpSp>
        <p:nvGrpSpPr>
          <p:cNvPr id="152" name="Group 151">
            <a:extLst>
              <a:ext uri="{FF2B5EF4-FFF2-40B4-BE49-F238E27FC236}">
                <a16:creationId xmlns:a16="http://schemas.microsoft.com/office/drawing/2014/main" id="{FD9D8A1E-42E8-4919-A7BA-2F639617AA4C}"/>
              </a:ext>
            </a:extLst>
          </p:cNvPr>
          <p:cNvGrpSpPr/>
          <p:nvPr/>
        </p:nvGrpSpPr>
        <p:grpSpPr>
          <a:xfrm>
            <a:off x="3132828" y="10387827"/>
            <a:ext cx="645904" cy="182523"/>
            <a:chOff x="6184939" y="8656372"/>
            <a:chExt cx="293284" cy="82878"/>
          </a:xfrm>
        </p:grpSpPr>
        <p:sp>
          <p:nvSpPr>
            <p:cNvPr id="153" name="Freeform: Shape 152">
              <a:extLst>
                <a:ext uri="{FF2B5EF4-FFF2-40B4-BE49-F238E27FC236}">
                  <a16:creationId xmlns:a16="http://schemas.microsoft.com/office/drawing/2014/main" id="{89B28F5A-7EE6-433A-8FC1-00D9C4D5F841}"/>
                </a:ext>
              </a:extLst>
            </p:cNvPr>
            <p:cNvSpPr/>
            <p:nvPr/>
          </p:nvSpPr>
          <p:spPr>
            <a:xfrm>
              <a:off x="6286541" y="8705014"/>
              <a:ext cx="31910" cy="33570"/>
            </a:xfrm>
            <a:custGeom>
              <a:avLst/>
              <a:gdLst>
                <a:gd name="connsiteX0" fmla="*/ 19277 w 31910"/>
                <a:gd name="connsiteY0" fmla="*/ 0 h 33570"/>
                <a:gd name="connsiteX1" fmla="*/ 31910 w 31910"/>
                <a:gd name="connsiteY1" fmla="*/ 33570 h 33570"/>
                <a:gd name="connsiteX2" fmla="*/ 25484 w 31910"/>
                <a:gd name="connsiteY2" fmla="*/ 33570 h 33570"/>
                <a:gd name="connsiteX3" fmla="*/ 22492 w 31910"/>
                <a:gd name="connsiteY3" fmla="*/ 25262 h 33570"/>
                <a:gd name="connsiteX4" fmla="*/ 9306 w 31910"/>
                <a:gd name="connsiteY4" fmla="*/ 25262 h 33570"/>
                <a:gd name="connsiteX5" fmla="*/ 6426 w 31910"/>
                <a:gd name="connsiteY5" fmla="*/ 33570 h 33570"/>
                <a:gd name="connsiteX6" fmla="*/ 0 w 31910"/>
                <a:gd name="connsiteY6" fmla="*/ 33570 h 33570"/>
                <a:gd name="connsiteX7" fmla="*/ 12629 w 31910"/>
                <a:gd name="connsiteY7" fmla="*/ 0 h 33570"/>
                <a:gd name="connsiteX8" fmla="*/ 19277 w 31910"/>
                <a:gd name="connsiteY8" fmla="*/ 0 h 33570"/>
                <a:gd name="connsiteX9" fmla="*/ 19277 w 31910"/>
                <a:gd name="connsiteY9" fmla="*/ 0 h 33570"/>
                <a:gd name="connsiteX10" fmla="*/ 15844 w 31910"/>
                <a:gd name="connsiteY10" fmla="*/ 6204 h 33570"/>
                <a:gd name="connsiteX11" fmla="*/ 10857 w 31910"/>
                <a:gd name="connsiteY11" fmla="*/ 20387 h 33570"/>
                <a:gd name="connsiteX12" fmla="*/ 20941 w 31910"/>
                <a:gd name="connsiteY12" fmla="*/ 20387 h 33570"/>
                <a:gd name="connsiteX13" fmla="*/ 15953 w 31910"/>
                <a:gd name="connsiteY13" fmla="*/ 6204 h 33570"/>
                <a:gd name="connsiteX14" fmla="*/ 15844 w 31910"/>
                <a:gd name="connsiteY14" fmla="*/ 6204 h 3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10" h="33570">
                  <a:moveTo>
                    <a:pt x="19277" y="0"/>
                  </a:moveTo>
                  <a:lnTo>
                    <a:pt x="31910" y="33570"/>
                  </a:lnTo>
                  <a:lnTo>
                    <a:pt x="25484" y="33570"/>
                  </a:lnTo>
                  <a:lnTo>
                    <a:pt x="22492" y="25262"/>
                  </a:lnTo>
                  <a:lnTo>
                    <a:pt x="9306" y="25262"/>
                  </a:lnTo>
                  <a:lnTo>
                    <a:pt x="6426" y="33570"/>
                  </a:lnTo>
                  <a:lnTo>
                    <a:pt x="0" y="33570"/>
                  </a:lnTo>
                  <a:lnTo>
                    <a:pt x="12629" y="0"/>
                  </a:lnTo>
                  <a:lnTo>
                    <a:pt x="19277" y="0"/>
                  </a:lnTo>
                  <a:lnTo>
                    <a:pt x="19277" y="0"/>
                  </a:lnTo>
                  <a:close/>
                  <a:moveTo>
                    <a:pt x="15844" y="6204"/>
                  </a:moveTo>
                  <a:lnTo>
                    <a:pt x="10857" y="20387"/>
                  </a:lnTo>
                  <a:lnTo>
                    <a:pt x="20941" y="20387"/>
                  </a:lnTo>
                  <a:lnTo>
                    <a:pt x="15953" y="6204"/>
                  </a:lnTo>
                  <a:lnTo>
                    <a:pt x="15844" y="6204"/>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54" name="Freeform: Shape 153">
              <a:extLst>
                <a:ext uri="{FF2B5EF4-FFF2-40B4-BE49-F238E27FC236}">
                  <a16:creationId xmlns:a16="http://schemas.microsoft.com/office/drawing/2014/main" id="{0815578A-624B-4B1A-9E4E-AC28096DD4F2}"/>
                </a:ext>
              </a:extLst>
            </p:cNvPr>
            <p:cNvSpPr/>
            <p:nvPr/>
          </p:nvSpPr>
          <p:spPr>
            <a:xfrm>
              <a:off x="6320555" y="8714542"/>
              <a:ext cx="20165" cy="24155"/>
            </a:xfrm>
            <a:custGeom>
              <a:avLst/>
              <a:gdLst>
                <a:gd name="connsiteX0" fmla="*/ 775 w 20165"/>
                <a:gd name="connsiteY0" fmla="*/ 0 h 24155"/>
                <a:gd name="connsiteX1" fmla="*/ 20056 w 20165"/>
                <a:gd name="connsiteY1" fmla="*/ 0 h 24155"/>
                <a:gd name="connsiteX2" fmla="*/ 20056 w 20165"/>
                <a:gd name="connsiteY2" fmla="*/ 2326 h 24155"/>
                <a:gd name="connsiteX3" fmla="*/ 7423 w 20165"/>
                <a:gd name="connsiteY3" fmla="*/ 19612 h 24155"/>
                <a:gd name="connsiteX4" fmla="*/ 20165 w 20165"/>
                <a:gd name="connsiteY4" fmla="*/ 19612 h 24155"/>
                <a:gd name="connsiteX5" fmla="*/ 20165 w 20165"/>
                <a:gd name="connsiteY5" fmla="*/ 24155 h 24155"/>
                <a:gd name="connsiteX6" fmla="*/ 0 w 20165"/>
                <a:gd name="connsiteY6" fmla="*/ 24155 h 24155"/>
                <a:gd name="connsiteX7" fmla="*/ 0 w 20165"/>
                <a:gd name="connsiteY7" fmla="*/ 21494 h 24155"/>
                <a:gd name="connsiteX8" fmla="*/ 12411 w 20165"/>
                <a:gd name="connsiteY8" fmla="*/ 4653 h 24155"/>
                <a:gd name="connsiteX9" fmla="*/ 888 w 20165"/>
                <a:gd name="connsiteY9" fmla="*/ 4653 h 24155"/>
                <a:gd name="connsiteX10" fmla="*/ 888 w 20165"/>
                <a:gd name="connsiteY10" fmla="*/ 0 h 24155"/>
                <a:gd name="connsiteX11" fmla="*/ 775 w 20165"/>
                <a:gd name="connsiteY11" fmla="*/ 0 h 24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65" h="24155">
                  <a:moveTo>
                    <a:pt x="775" y="0"/>
                  </a:moveTo>
                  <a:lnTo>
                    <a:pt x="20056" y="0"/>
                  </a:lnTo>
                  <a:lnTo>
                    <a:pt x="20056" y="2326"/>
                  </a:lnTo>
                  <a:lnTo>
                    <a:pt x="7423" y="19612"/>
                  </a:lnTo>
                  <a:lnTo>
                    <a:pt x="20165" y="19612"/>
                  </a:lnTo>
                  <a:lnTo>
                    <a:pt x="20165" y="24155"/>
                  </a:lnTo>
                  <a:lnTo>
                    <a:pt x="0" y="24155"/>
                  </a:lnTo>
                  <a:lnTo>
                    <a:pt x="0" y="21494"/>
                  </a:lnTo>
                  <a:lnTo>
                    <a:pt x="12411" y="4653"/>
                  </a:lnTo>
                  <a:lnTo>
                    <a:pt x="888" y="4653"/>
                  </a:lnTo>
                  <a:lnTo>
                    <a:pt x="888" y="0"/>
                  </a:lnTo>
                  <a:lnTo>
                    <a:pt x="775" y="0"/>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55" name="Freeform: Shape 154">
              <a:extLst>
                <a:ext uri="{FF2B5EF4-FFF2-40B4-BE49-F238E27FC236}">
                  <a16:creationId xmlns:a16="http://schemas.microsoft.com/office/drawing/2014/main" id="{5BFF8EC6-7A3E-4C22-B0F8-FE55759A53A7}"/>
                </a:ext>
              </a:extLst>
            </p:cNvPr>
            <p:cNvSpPr/>
            <p:nvPr/>
          </p:nvSpPr>
          <p:spPr>
            <a:xfrm>
              <a:off x="6343050" y="8714542"/>
              <a:ext cx="21716" cy="24264"/>
            </a:xfrm>
            <a:custGeom>
              <a:avLst/>
              <a:gdLst>
                <a:gd name="connsiteX0" fmla="*/ 21716 w 21716"/>
                <a:gd name="connsiteY0" fmla="*/ 0 h 24264"/>
                <a:gd name="connsiteX1" fmla="*/ 21716 w 21716"/>
                <a:gd name="connsiteY1" fmla="*/ 24043 h 24264"/>
                <a:gd name="connsiteX2" fmla="*/ 15953 w 21716"/>
                <a:gd name="connsiteY2" fmla="*/ 24043 h 24264"/>
                <a:gd name="connsiteX3" fmla="*/ 15953 w 21716"/>
                <a:gd name="connsiteY3" fmla="*/ 20831 h 24264"/>
                <a:gd name="connsiteX4" fmla="*/ 15844 w 21716"/>
                <a:gd name="connsiteY4" fmla="*/ 20831 h 24264"/>
                <a:gd name="connsiteX5" fmla="*/ 12851 w 21716"/>
                <a:gd name="connsiteY5" fmla="*/ 23380 h 24264"/>
                <a:gd name="connsiteX6" fmla="*/ 8643 w 21716"/>
                <a:gd name="connsiteY6" fmla="*/ 24265 h 24264"/>
                <a:gd name="connsiteX7" fmla="*/ 2214 w 21716"/>
                <a:gd name="connsiteY7" fmla="*/ 21938 h 24264"/>
                <a:gd name="connsiteX8" fmla="*/ 0 w 21716"/>
                <a:gd name="connsiteY8" fmla="*/ 14515 h 24264"/>
                <a:gd name="connsiteX9" fmla="*/ 0 w 21716"/>
                <a:gd name="connsiteY9" fmla="*/ 0 h 24264"/>
                <a:gd name="connsiteX10" fmla="*/ 5760 w 21716"/>
                <a:gd name="connsiteY10" fmla="*/ 0 h 24264"/>
                <a:gd name="connsiteX11" fmla="*/ 5760 w 21716"/>
                <a:gd name="connsiteY11" fmla="*/ 13962 h 24264"/>
                <a:gd name="connsiteX12" fmla="*/ 6979 w 21716"/>
                <a:gd name="connsiteY12" fmla="*/ 18502 h 24264"/>
                <a:gd name="connsiteX13" fmla="*/ 10634 w 21716"/>
                <a:gd name="connsiteY13" fmla="*/ 20056 h 24264"/>
                <a:gd name="connsiteX14" fmla="*/ 14515 w 21716"/>
                <a:gd name="connsiteY14" fmla="*/ 18392 h 24264"/>
                <a:gd name="connsiteX15" fmla="*/ 15953 w 21716"/>
                <a:gd name="connsiteY15" fmla="*/ 13962 h 24264"/>
                <a:gd name="connsiteX16" fmla="*/ 15953 w 21716"/>
                <a:gd name="connsiteY16" fmla="*/ 0 h 24264"/>
                <a:gd name="connsiteX17" fmla="*/ 21716 w 21716"/>
                <a:gd name="connsiteY17" fmla="*/ 0 h 24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16" h="24264">
                  <a:moveTo>
                    <a:pt x="21716" y="0"/>
                  </a:moveTo>
                  <a:lnTo>
                    <a:pt x="21716" y="24043"/>
                  </a:lnTo>
                  <a:lnTo>
                    <a:pt x="15953" y="24043"/>
                  </a:lnTo>
                  <a:lnTo>
                    <a:pt x="15953" y="20831"/>
                  </a:lnTo>
                  <a:lnTo>
                    <a:pt x="15844" y="20831"/>
                  </a:lnTo>
                  <a:cubicBezTo>
                    <a:pt x="15069" y="21938"/>
                    <a:pt x="14071" y="22823"/>
                    <a:pt x="12851" y="23380"/>
                  </a:cubicBezTo>
                  <a:cubicBezTo>
                    <a:pt x="11632" y="24043"/>
                    <a:pt x="10194" y="24265"/>
                    <a:pt x="8643" y="24265"/>
                  </a:cubicBezTo>
                  <a:cubicBezTo>
                    <a:pt x="5872" y="24265"/>
                    <a:pt x="3765" y="23489"/>
                    <a:pt x="2214" y="21938"/>
                  </a:cubicBezTo>
                  <a:cubicBezTo>
                    <a:pt x="775" y="20387"/>
                    <a:pt x="0" y="17839"/>
                    <a:pt x="0" y="14515"/>
                  </a:cubicBezTo>
                  <a:lnTo>
                    <a:pt x="0" y="0"/>
                  </a:lnTo>
                  <a:lnTo>
                    <a:pt x="5760" y="0"/>
                  </a:lnTo>
                  <a:lnTo>
                    <a:pt x="5760" y="13962"/>
                  </a:lnTo>
                  <a:cubicBezTo>
                    <a:pt x="5760" y="15957"/>
                    <a:pt x="6204" y="17508"/>
                    <a:pt x="6979" y="18502"/>
                  </a:cubicBezTo>
                  <a:cubicBezTo>
                    <a:pt x="7755" y="19499"/>
                    <a:pt x="8974" y="20056"/>
                    <a:pt x="10634" y="20056"/>
                  </a:cubicBezTo>
                  <a:cubicBezTo>
                    <a:pt x="12298" y="20056"/>
                    <a:pt x="13518" y="19499"/>
                    <a:pt x="14515" y="18392"/>
                  </a:cubicBezTo>
                  <a:cubicBezTo>
                    <a:pt x="15509" y="17286"/>
                    <a:pt x="15953" y="15735"/>
                    <a:pt x="15953" y="13962"/>
                  </a:cubicBezTo>
                  <a:lnTo>
                    <a:pt x="15953" y="0"/>
                  </a:lnTo>
                  <a:lnTo>
                    <a:pt x="21716" y="0"/>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56" name="Freeform: Shape 155">
              <a:extLst>
                <a:ext uri="{FF2B5EF4-FFF2-40B4-BE49-F238E27FC236}">
                  <a16:creationId xmlns:a16="http://schemas.microsoft.com/office/drawing/2014/main" id="{D7011606-9AF7-4063-A405-DBBF7428DFD0}"/>
                </a:ext>
              </a:extLst>
            </p:cNvPr>
            <p:cNvSpPr/>
            <p:nvPr/>
          </p:nvSpPr>
          <p:spPr>
            <a:xfrm>
              <a:off x="6369973" y="8714101"/>
              <a:ext cx="13958" cy="24483"/>
            </a:xfrm>
            <a:custGeom>
              <a:avLst/>
              <a:gdLst>
                <a:gd name="connsiteX0" fmla="*/ 11854 w 13958"/>
                <a:gd name="connsiteY0" fmla="*/ 0 h 24483"/>
                <a:gd name="connsiteX1" fmla="*/ 13074 w 13958"/>
                <a:gd name="connsiteY1" fmla="*/ 109 h 24483"/>
                <a:gd name="connsiteX2" fmla="*/ 13958 w 13958"/>
                <a:gd name="connsiteY2" fmla="*/ 331 h 24483"/>
                <a:gd name="connsiteX3" fmla="*/ 13958 w 13958"/>
                <a:gd name="connsiteY3" fmla="*/ 6091 h 24483"/>
                <a:gd name="connsiteX4" fmla="*/ 12629 w 13958"/>
                <a:gd name="connsiteY4" fmla="*/ 5428 h 24483"/>
                <a:gd name="connsiteX5" fmla="*/ 10525 w 13958"/>
                <a:gd name="connsiteY5" fmla="*/ 5094 h 24483"/>
                <a:gd name="connsiteX6" fmla="*/ 6979 w 13958"/>
                <a:gd name="connsiteY6" fmla="*/ 6866 h 24483"/>
                <a:gd name="connsiteX7" fmla="*/ 5538 w 13958"/>
                <a:gd name="connsiteY7" fmla="*/ 12298 h 24483"/>
                <a:gd name="connsiteX8" fmla="*/ 5538 w 13958"/>
                <a:gd name="connsiteY8" fmla="*/ 24483 h 24483"/>
                <a:gd name="connsiteX9" fmla="*/ 0 w 13958"/>
                <a:gd name="connsiteY9" fmla="*/ 24483 h 24483"/>
                <a:gd name="connsiteX10" fmla="*/ 0 w 13958"/>
                <a:gd name="connsiteY10" fmla="*/ 441 h 24483"/>
                <a:gd name="connsiteX11" fmla="*/ 5650 w 13958"/>
                <a:gd name="connsiteY11" fmla="*/ 441 h 24483"/>
                <a:gd name="connsiteX12" fmla="*/ 5650 w 13958"/>
                <a:gd name="connsiteY12" fmla="*/ 4209 h 24483"/>
                <a:gd name="connsiteX13" fmla="*/ 5760 w 13958"/>
                <a:gd name="connsiteY13" fmla="*/ 4209 h 24483"/>
                <a:gd name="connsiteX14" fmla="*/ 8086 w 13958"/>
                <a:gd name="connsiteY14" fmla="*/ 1107 h 24483"/>
                <a:gd name="connsiteX15" fmla="*/ 11854 w 13958"/>
                <a:gd name="connsiteY15" fmla="*/ 0 h 2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958" h="24483">
                  <a:moveTo>
                    <a:pt x="11854" y="0"/>
                  </a:moveTo>
                  <a:cubicBezTo>
                    <a:pt x="12298" y="0"/>
                    <a:pt x="12742" y="0"/>
                    <a:pt x="13074" y="109"/>
                  </a:cubicBezTo>
                  <a:cubicBezTo>
                    <a:pt x="13405" y="219"/>
                    <a:pt x="13740" y="219"/>
                    <a:pt x="13958" y="331"/>
                  </a:cubicBezTo>
                  <a:lnTo>
                    <a:pt x="13958" y="6091"/>
                  </a:lnTo>
                  <a:cubicBezTo>
                    <a:pt x="13627" y="5872"/>
                    <a:pt x="13183" y="5650"/>
                    <a:pt x="12629" y="5428"/>
                  </a:cubicBezTo>
                  <a:cubicBezTo>
                    <a:pt x="12076" y="5206"/>
                    <a:pt x="11410" y="5094"/>
                    <a:pt x="10525" y="5094"/>
                  </a:cubicBezTo>
                  <a:cubicBezTo>
                    <a:pt x="9084" y="5094"/>
                    <a:pt x="7977" y="5650"/>
                    <a:pt x="6979" y="6866"/>
                  </a:cubicBezTo>
                  <a:cubicBezTo>
                    <a:pt x="5982" y="8086"/>
                    <a:pt x="5538" y="9859"/>
                    <a:pt x="5538" y="12298"/>
                  </a:cubicBezTo>
                  <a:lnTo>
                    <a:pt x="5538" y="24483"/>
                  </a:lnTo>
                  <a:lnTo>
                    <a:pt x="0" y="24483"/>
                  </a:lnTo>
                  <a:lnTo>
                    <a:pt x="0" y="441"/>
                  </a:lnTo>
                  <a:lnTo>
                    <a:pt x="5650" y="441"/>
                  </a:lnTo>
                  <a:lnTo>
                    <a:pt x="5650" y="4209"/>
                  </a:lnTo>
                  <a:lnTo>
                    <a:pt x="5760" y="4209"/>
                  </a:lnTo>
                  <a:cubicBezTo>
                    <a:pt x="6313" y="2880"/>
                    <a:pt x="7089" y="1882"/>
                    <a:pt x="8086" y="1107"/>
                  </a:cubicBezTo>
                  <a:cubicBezTo>
                    <a:pt x="9196" y="441"/>
                    <a:pt x="10416" y="0"/>
                    <a:pt x="11854" y="0"/>
                  </a:cubicBez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57" name="Freeform: Shape 156">
              <a:extLst>
                <a:ext uri="{FF2B5EF4-FFF2-40B4-BE49-F238E27FC236}">
                  <a16:creationId xmlns:a16="http://schemas.microsoft.com/office/drawing/2014/main" id="{5BFCBBB8-142A-4644-ACCE-DBA4A784C791}"/>
                </a:ext>
              </a:extLst>
            </p:cNvPr>
            <p:cNvSpPr/>
            <p:nvPr/>
          </p:nvSpPr>
          <p:spPr>
            <a:xfrm>
              <a:off x="6384266" y="8714101"/>
              <a:ext cx="22047" cy="25149"/>
            </a:xfrm>
            <a:custGeom>
              <a:avLst/>
              <a:gdLst>
                <a:gd name="connsiteX0" fmla="*/ 20165 w 22047"/>
                <a:gd name="connsiteY0" fmla="*/ 18502 h 25149"/>
                <a:gd name="connsiteX1" fmla="*/ 20165 w 22047"/>
                <a:gd name="connsiteY1" fmla="*/ 23155 h 25149"/>
                <a:gd name="connsiteX2" fmla="*/ 16507 w 22047"/>
                <a:gd name="connsiteY2" fmla="*/ 24596 h 25149"/>
                <a:gd name="connsiteX3" fmla="*/ 11632 w 22047"/>
                <a:gd name="connsiteY3" fmla="*/ 25150 h 25149"/>
                <a:gd name="connsiteX4" fmla="*/ 3102 w 22047"/>
                <a:gd name="connsiteY4" fmla="*/ 21935 h 25149"/>
                <a:gd name="connsiteX5" fmla="*/ 0 w 22047"/>
                <a:gd name="connsiteY5" fmla="*/ 12851 h 25149"/>
                <a:gd name="connsiteX6" fmla="*/ 3211 w 22047"/>
                <a:gd name="connsiteY6" fmla="*/ 3655 h 25149"/>
                <a:gd name="connsiteX7" fmla="*/ 11523 w 22047"/>
                <a:gd name="connsiteY7" fmla="*/ 0 h 25149"/>
                <a:gd name="connsiteX8" fmla="*/ 19277 w 22047"/>
                <a:gd name="connsiteY8" fmla="*/ 3102 h 25149"/>
                <a:gd name="connsiteX9" fmla="*/ 22048 w 22047"/>
                <a:gd name="connsiteY9" fmla="*/ 11523 h 25149"/>
                <a:gd name="connsiteX10" fmla="*/ 22048 w 22047"/>
                <a:gd name="connsiteY10" fmla="*/ 14293 h 25149"/>
                <a:gd name="connsiteX11" fmla="*/ 5538 w 22047"/>
                <a:gd name="connsiteY11" fmla="*/ 14293 h 25149"/>
                <a:gd name="connsiteX12" fmla="*/ 7867 w 22047"/>
                <a:gd name="connsiteY12" fmla="*/ 19387 h 25149"/>
                <a:gd name="connsiteX13" fmla="*/ 12961 w 22047"/>
                <a:gd name="connsiteY13" fmla="*/ 20828 h 25149"/>
                <a:gd name="connsiteX14" fmla="*/ 16842 w 22047"/>
                <a:gd name="connsiteY14" fmla="*/ 20165 h 25149"/>
                <a:gd name="connsiteX15" fmla="*/ 20165 w 22047"/>
                <a:gd name="connsiteY15" fmla="*/ 18502 h 25149"/>
                <a:gd name="connsiteX16" fmla="*/ 16507 w 22047"/>
                <a:gd name="connsiteY16" fmla="*/ 10081 h 25149"/>
                <a:gd name="connsiteX17" fmla="*/ 15178 w 22047"/>
                <a:gd name="connsiteY17" fmla="*/ 5760 h 25149"/>
                <a:gd name="connsiteX18" fmla="*/ 11523 w 22047"/>
                <a:gd name="connsiteY18" fmla="*/ 4318 h 25149"/>
                <a:gd name="connsiteX19" fmla="*/ 7867 w 22047"/>
                <a:gd name="connsiteY19" fmla="*/ 5760 h 25149"/>
                <a:gd name="connsiteX20" fmla="*/ 5760 w 22047"/>
                <a:gd name="connsiteY20" fmla="*/ 10081 h 25149"/>
                <a:gd name="connsiteX21" fmla="*/ 16507 w 22047"/>
                <a:gd name="connsiteY21" fmla="*/ 10081 h 2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047" h="25149">
                  <a:moveTo>
                    <a:pt x="20165" y="18502"/>
                  </a:moveTo>
                  <a:lnTo>
                    <a:pt x="20165" y="23155"/>
                  </a:lnTo>
                  <a:cubicBezTo>
                    <a:pt x="19277" y="23708"/>
                    <a:pt x="17948" y="24265"/>
                    <a:pt x="16507" y="24596"/>
                  </a:cubicBezTo>
                  <a:cubicBezTo>
                    <a:pt x="14956" y="24928"/>
                    <a:pt x="13405" y="25150"/>
                    <a:pt x="11632" y="25150"/>
                  </a:cubicBezTo>
                  <a:cubicBezTo>
                    <a:pt x="7977" y="25150"/>
                    <a:pt x="5097" y="24043"/>
                    <a:pt x="3102" y="21935"/>
                  </a:cubicBezTo>
                  <a:cubicBezTo>
                    <a:pt x="1107" y="19831"/>
                    <a:pt x="0" y="16729"/>
                    <a:pt x="0" y="12851"/>
                  </a:cubicBezTo>
                  <a:cubicBezTo>
                    <a:pt x="0" y="9084"/>
                    <a:pt x="1107" y="6091"/>
                    <a:pt x="3211" y="3655"/>
                  </a:cubicBezTo>
                  <a:cubicBezTo>
                    <a:pt x="5319" y="1216"/>
                    <a:pt x="8199" y="0"/>
                    <a:pt x="11523" y="0"/>
                  </a:cubicBezTo>
                  <a:cubicBezTo>
                    <a:pt x="14846" y="0"/>
                    <a:pt x="17395" y="994"/>
                    <a:pt x="19277" y="3102"/>
                  </a:cubicBezTo>
                  <a:cubicBezTo>
                    <a:pt x="21163" y="5094"/>
                    <a:pt x="22048" y="7977"/>
                    <a:pt x="22048" y="11523"/>
                  </a:cubicBezTo>
                  <a:lnTo>
                    <a:pt x="22048" y="14293"/>
                  </a:lnTo>
                  <a:lnTo>
                    <a:pt x="5538" y="14293"/>
                  </a:lnTo>
                  <a:cubicBezTo>
                    <a:pt x="5760" y="16729"/>
                    <a:pt x="6535" y="18392"/>
                    <a:pt x="7867" y="19387"/>
                  </a:cubicBezTo>
                  <a:cubicBezTo>
                    <a:pt x="9196" y="20384"/>
                    <a:pt x="10857" y="20828"/>
                    <a:pt x="12961" y="20828"/>
                  </a:cubicBezTo>
                  <a:cubicBezTo>
                    <a:pt x="14293" y="20828"/>
                    <a:pt x="15622" y="20606"/>
                    <a:pt x="16842" y="20165"/>
                  </a:cubicBezTo>
                  <a:cubicBezTo>
                    <a:pt x="18058" y="19721"/>
                    <a:pt x="19168" y="19168"/>
                    <a:pt x="20165" y="18502"/>
                  </a:cubicBezTo>
                  <a:close/>
                  <a:moveTo>
                    <a:pt x="16507" y="10081"/>
                  </a:moveTo>
                  <a:cubicBezTo>
                    <a:pt x="16507" y="8199"/>
                    <a:pt x="16066" y="6757"/>
                    <a:pt x="15178" y="5760"/>
                  </a:cubicBezTo>
                  <a:cubicBezTo>
                    <a:pt x="14293" y="4762"/>
                    <a:pt x="13074" y="4318"/>
                    <a:pt x="11523" y="4318"/>
                  </a:cubicBezTo>
                  <a:cubicBezTo>
                    <a:pt x="10194" y="4318"/>
                    <a:pt x="8974" y="4762"/>
                    <a:pt x="7867" y="5760"/>
                  </a:cubicBezTo>
                  <a:cubicBezTo>
                    <a:pt x="6757" y="6757"/>
                    <a:pt x="6094" y="8199"/>
                    <a:pt x="5760" y="10081"/>
                  </a:cubicBezTo>
                  <a:lnTo>
                    <a:pt x="16507" y="10081"/>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58" name="Freeform: Shape 157">
              <a:extLst>
                <a:ext uri="{FF2B5EF4-FFF2-40B4-BE49-F238E27FC236}">
                  <a16:creationId xmlns:a16="http://schemas.microsoft.com/office/drawing/2014/main" id="{A0F71A0F-35F8-4E72-B00F-DAD1955BE465}"/>
                </a:ext>
              </a:extLst>
            </p:cNvPr>
            <p:cNvSpPr/>
            <p:nvPr/>
          </p:nvSpPr>
          <p:spPr>
            <a:xfrm>
              <a:off x="6288536" y="8656372"/>
              <a:ext cx="189687" cy="36784"/>
            </a:xfrm>
            <a:custGeom>
              <a:avLst/>
              <a:gdLst>
                <a:gd name="connsiteX0" fmla="*/ 36453 w 189687"/>
                <a:gd name="connsiteY0" fmla="*/ 2439 h 36784"/>
                <a:gd name="connsiteX1" fmla="*/ 36453 w 189687"/>
                <a:gd name="connsiteY1" fmla="*/ 36009 h 36784"/>
                <a:gd name="connsiteX2" fmla="*/ 30581 w 189687"/>
                <a:gd name="connsiteY2" fmla="*/ 36009 h 36784"/>
                <a:gd name="connsiteX3" fmla="*/ 30581 w 189687"/>
                <a:gd name="connsiteY3" fmla="*/ 9750 h 36784"/>
                <a:gd name="connsiteX4" fmla="*/ 30468 w 189687"/>
                <a:gd name="connsiteY4" fmla="*/ 9750 h 36784"/>
                <a:gd name="connsiteX5" fmla="*/ 20056 w 189687"/>
                <a:gd name="connsiteY5" fmla="*/ 36122 h 36784"/>
                <a:gd name="connsiteX6" fmla="*/ 16175 w 189687"/>
                <a:gd name="connsiteY6" fmla="*/ 36122 h 36784"/>
                <a:gd name="connsiteX7" fmla="*/ 5541 w 189687"/>
                <a:gd name="connsiteY7" fmla="*/ 9750 h 36784"/>
                <a:gd name="connsiteX8" fmla="*/ 5428 w 189687"/>
                <a:gd name="connsiteY8" fmla="*/ 9750 h 36784"/>
                <a:gd name="connsiteX9" fmla="*/ 5428 w 189687"/>
                <a:gd name="connsiteY9" fmla="*/ 36122 h 36784"/>
                <a:gd name="connsiteX10" fmla="*/ 0 w 189687"/>
                <a:gd name="connsiteY10" fmla="*/ 36122 h 36784"/>
                <a:gd name="connsiteX11" fmla="*/ 0 w 189687"/>
                <a:gd name="connsiteY11" fmla="*/ 2439 h 36784"/>
                <a:gd name="connsiteX12" fmla="*/ 8311 w 189687"/>
                <a:gd name="connsiteY12" fmla="*/ 2439 h 36784"/>
                <a:gd name="connsiteX13" fmla="*/ 17948 w 189687"/>
                <a:gd name="connsiteY13" fmla="*/ 27367 h 36784"/>
                <a:gd name="connsiteX14" fmla="*/ 18061 w 189687"/>
                <a:gd name="connsiteY14" fmla="*/ 27367 h 36784"/>
                <a:gd name="connsiteX15" fmla="*/ 28255 w 189687"/>
                <a:gd name="connsiteY15" fmla="*/ 2439 h 36784"/>
                <a:gd name="connsiteX16" fmla="*/ 36453 w 189687"/>
                <a:gd name="connsiteY16" fmla="*/ 2439 h 36784"/>
                <a:gd name="connsiteX17" fmla="*/ 36453 w 189687"/>
                <a:gd name="connsiteY17" fmla="*/ 2439 h 36784"/>
                <a:gd name="connsiteX18" fmla="*/ 41328 w 189687"/>
                <a:gd name="connsiteY18" fmla="*/ 4987 h 36784"/>
                <a:gd name="connsiteX19" fmla="*/ 42326 w 189687"/>
                <a:gd name="connsiteY19" fmla="*/ 2658 h 36784"/>
                <a:gd name="connsiteX20" fmla="*/ 44762 w 189687"/>
                <a:gd name="connsiteY20" fmla="*/ 1664 h 36784"/>
                <a:gd name="connsiteX21" fmla="*/ 47201 w 189687"/>
                <a:gd name="connsiteY21" fmla="*/ 2658 h 36784"/>
                <a:gd name="connsiteX22" fmla="*/ 48198 w 189687"/>
                <a:gd name="connsiteY22" fmla="*/ 4987 h 36784"/>
                <a:gd name="connsiteX23" fmla="*/ 47201 w 189687"/>
                <a:gd name="connsiteY23" fmla="*/ 7314 h 36784"/>
                <a:gd name="connsiteX24" fmla="*/ 44762 w 189687"/>
                <a:gd name="connsiteY24" fmla="*/ 8199 h 36784"/>
                <a:gd name="connsiteX25" fmla="*/ 42326 w 189687"/>
                <a:gd name="connsiteY25" fmla="*/ 7201 h 36784"/>
                <a:gd name="connsiteX26" fmla="*/ 41328 w 189687"/>
                <a:gd name="connsiteY26" fmla="*/ 4987 h 36784"/>
                <a:gd name="connsiteX27" fmla="*/ 47645 w 189687"/>
                <a:gd name="connsiteY27" fmla="*/ 11967 h 36784"/>
                <a:gd name="connsiteX28" fmla="*/ 47645 w 189687"/>
                <a:gd name="connsiteY28" fmla="*/ 36009 h 36784"/>
                <a:gd name="connsiteX29" fmla="*/ 41991 w 189687"/>
                <a:gd name="connsiteY29" fmla="*/ 36009 h 36784"/>
                <a:gd name="connsiteX30" fmla="*/ 41991 w 189687"/>
                <a:gd name="connsiteY30" fmla="*/ 11967 h 36784"/>
                <a:gd name="connsiteX31" fmla="*/ 47645 w 189687"/>
                <a:gd name="connsiteY31" fmla="*/ 11967 h 36784"/>
                <a:gd name="connsiteX32" fmla="*/ 64818 w 189687"/>
                <a:gd name="connsiteY32" fmla="*/ 31910 h 36784"/>
                <a:gd name="connsiteX33" fmla="*/ 67588 w 189687"/>
                <a:gd name="connsiteY33" fmla="*/ 31357 h 36784"/>
                <a:gd name="connsiteX34" fmla="*/ 70359 w 189687"/>
                <a:gd name="connsiteY34" fmla="*/ 29806 h 36784"/>
                <a:gd name="connsiteX35" fmla="*/ 70359 w 189687"/>
                <a:gd name="connsiteY35" fmla="*/ 35125 h 36784"/>
                <a:gd name="connsiteX36" fmla="*/ 67253 w 189687"/>
                <a:gd name="connsiteY36" fmla="*/ 36341 h 36784"/>
                <a:gd name="connsiteX37" fmla="*/ 63489 w 189687"/>
                <a:gd name="connsiteY37" fmla="*/ 36785 h 36784"/>
                <a:gd name="connsiteX38" fmla="*/ 54846 w 189687"/>
                <a:gd name="connsiteY38" fmla="*/ 33461 h 36784"/>
                <a:gd name="connsiteX39" fmla="*/ 51522 w 189687"/>
                <a:gd name="connsiteY39" fmla="*/ 24931 h 36784"/>
                <a:gd name="connsiteX40" fmla="*/ 54955 w 189687"/>
                <a:gd name="connsiteY40" fmla="*/ 15400 h 36784"/>
                <a:gd name="connsiteX41" fmla="*/ 64596 w 189687"/>
                <a:gd name="connsiteY41" fmla="*/ 11635 h 36784"/>
                <a:gd name="connsiteX42" fmla="*/ 67810 w 189687"/>
                <a:gd name="connsiteY42" fmla="*/ 12076 h 36784"/>
                <a:gd name="connsiteX43" fmla="*/ 70359 w 189687"/>
                <a:gd name="connsiteY43" fmla="*/ 13074 h 36784"/>
                <a:gd name="connsiteX44" fmla="*/ 70359 w 189687"/>
                <a:gd name="connsiteY44" fmla="*/ 18505 h 36784"/>
                <a:gd name="connsiteX45" fmla="*/ 67697 w 189687"/>
                <a:gd name="connsiteY45" fmla="*/ 17064 h 36784"/>
                <a:gd name="connsiteX46" fmla="*/ 64927 w 189687"/>
                <a:gd name="connsiteY46" fmla="*/ 16510 h 36784"/>
                <a:gd name="connsiteX47" fmla="*/ 59499 w 189687"/>
                <a:gd name="connsiteY47" fmla="*/ 18724 h 36784"/>
                <a:gd name="connsiteX48" fmla="*/ 57394 w 189687"/>
                <a:gd name="connsiteY48" fmla="*/ 24596 h 36784"/>
                <a:gd name="connsiteX49" fmla="*/ 59389 w 189687"/>
                <a:gd name="connsiteY49" fmla="*/ 30250 h 36784"/>
                <a:gd name="connsiteX50" fmla="*/ 64818 w 189687"/>
                <a:gd name="connsiteY50" fmla="*/ 31910 h 36784"/>
                <a:gd name="connsiteX51" fmla="*/ 86534 w 189687"/>
                <a:gd name="connsiteY51" fmla="*/ 11635 h 36784"/>
                <a:gd name="connsiteX52" fmla="*/ 87753 w 189687"/>
                <a:gd name="connsiteY52" fmla="*/ 11745 h 36784"/>
                <a:gd name="connsiteX53" fmla="*/ 88638 w 189687"/>
                <a:gd name="connsiteY53" fmla="*/ 11967 h 36784"/>
                <a:gd name="connsiteX54" fmla="*/ 88638 w 189687"/>
                <a:gd name="connsiteY54" fmla="*/ 17726 h 36784"/>
                <a:gd name="connsiteX55" fmla="*/ 87309 w 189687"/>
                <a:gd name="connsiteY55" fmla="*/ 17064 h 36784"/>
                <a:gd name="connsiteX56" fmla="*/ 85205 w 189687"/>
                <a:gd name="connsiteY56" fmla="*/ 16732 h 36784"/>
                <a:gd name="connsiteX57" fmla="*/ 81659 w 189687"/>
                <a:gd name="connsiteY57" fmla="*/ 18505 h 36784"/>
                <a:gd name="connsiteX58" fmla="*/ 80218 w 189687"/>
                <a:gd name="connsiteY58" fmla="*/ 23933 h 36784"/>
                <a:gd name="connsiteX59" fmla="*/ 80218 w 189687"/>
                <a:gd name="connsiteY59" fmla="*/ 36122 h 36784"/>
                <a:gd name="connsiteX60" fmla="*/ 74567 w 189687"/>
                <a:gd name="connsiteY60" fmla="*/ 36122 h 36784"/>
                <a:gd name="connsiteX61" fmla="*/ 74567 w 189687"/>
                <a:gd name="connsiteY61" fmla="*/ 11967 h 36784"/>
                <a:gd name="connsiteX62" fmla="*/ 80218 w 189687"/>
                <a:gd name="connsiteY62" fmla="*/ 11967 h 36784"/>
                <a:gd name="connsiteX63" fmla="*/ 80218 w 189687"/>
                <a:gd name="connsiteY63" fmla="*/ 15735 h 36784"/>
                <a:gd name="connsiteX64" fmla="*/ 80330 w 189687"/>
                <a:gd name="connsiteY64" fmla="*/ 15735 h 36784"/>
                <a:gd name="connsiteX65" fmla="*/ 82657 w 189687"/>
                <a:gd name="connsiteY65" fmla="*/ 12633 h 36784"/>
                <a:gd name="connsiteX66" fmla="*/ 86534 w 189687"/>
                <a:gd name="connsiteY66" fmla="*/ 11635 h 36784"/>
                <a:gd name="connsiteX67" fmla="*/ 88973 w 189687"/>
                <a:gd name="connsiteY67" fmla="*/ 24377 h 36784"/>
                <a:gd name="connsiteX68" fmla="*/ 92297 w 189687"/>
                <a:gd name="connsiteY68" fmla="*/ 14959 h 36784"/>
                <a:gd name="connsiteX69" fmla="*/ 101715 w 189687"/>
                <a:gd name="connsiteY69" fmla="*/ 11413 h 36784"/>
                <a:gd name="connsiteX70" fmla="*/ 110577 w 189687"/>
                <a:gd name="connsiteY70" fmla="*/ 14737 h 36784"/>
                <a:gd name="connsiteX71" fmla="*/ 113791 w 189687"/>
                <a:gd name="connsiteY71" fmla="*/ 23821 h 36784"/>
                <a:gd name="connsiteX72" fmla="*/ 110467 w 189687"/>
                <a:gd name="connsiteY72" fmla="*/ 33130 h 36784"/>
                <a:gd name="connsiteX73" fmla="*/ 101271 w 189687"/>
                <a:gd name="connsiteY73" fmla="*/ 36563 h 36784"/>
                <a:gd name="connsiteX74" fmla="*/ 92406 w 189687"/>
                <a:gd name="connsiteY74" fmla="*/ 33239 h 36784"/>
                <a:gd name="connsiteX75" fmla="*/ 88973 w 189687"/>
                <a:gd name="connsiteY75" fmla="*/ 24377 h 36784"/>
                <a:gd name="connsiteX76" fmla="*/ 94845 w 189687"/>
                <a:gd name="connsiteY76" fmla="*/ 24155 h 36784"/>
                <a:gd name="connsiteX77" fmla="*/ 96506 w 189687"/>
                <a:gd name="connsiteY77" fmla="*/ 29915 h 36784"/>
                <a:gd name="connsiteX78" fmla="*/ 101380 w 189687"/>
                <a:gd name="connsiteY78" fmla="*/ 31910 h 36784"/>
                <a:gd name="connsiteX79" fmla="*/ 106033 w 189687"/>
                <a:gd name="connsiteY79" fmla="*/ 29915 h 36784"/>
                <a:gd name="connsiteX80" fmla="*/ 107697 w 189687"/>
                <a:gd name="connsiteY80" fmla="*/ 24043 h 36784"/>
                <a:gd name="connsiteX81" fmla="*/ 106033 w 189687"/>
                <a:gd name="connsiteY81" fmla="*/ 18170 h 36784"/>
                <a:gd name="connsiteX82" fmla="*/ 101380 w 189687"/>
                <a:gd name="connsiteY82" fmla="*/ 16175 h 36784"/>
                <a:gd name="connsiteX83" fmla="*/ 96506 w 189687"/>
                <a:gd name="connsiteY83" fmla="*/ 18283 h 36784"/>
                <a:gd name="connsiteX84" fmla="*/ 94845 w 189687"/>
                <a:gd name="connsiteY84" fmla="*/ 24155 h 36784"/>
                <a:gd name="connsiteX85" fmla="*/ 122099 w 189687"/>
                <a:gd name="connsiteY85" fmla="*/ 18283 h 36784"/>
                <a:gd name="connsiteX86" fmla="*/ 122875 w 189687"/>
                <a:gd name="connsiteY86" fmla="*/ 20165 h 36784"/>
                <a:gd name="connsiteX87" fmla="*/ 126311 w 189687"/>
                <a:gd name="connsiteY87" fmla="*/ 21938 h 36784"/>
                <a:gd name="connsiteX88" fmla="*/ 131077 w 189687"/>
                <a:gd name="connsiteY88" fmla="*/ 25040 h 36784"/>
                <a:gd name="connsiteX89" fmla="*/ 132406 w 189687"/>
                <a:gd name="connsiteY89" fmla="*/ 29140 h 36784"/>
                <a:gd name="connsiteX90" fmla="*/ 129744 w 189687"/>
                <a:gd name="connsiteY90" fmla="*/ 34568 h 36784"/>
                <a:gd name="connsiteX91" fmla="*/ 122656 w 189687"/>
                <a:gd name="connsiteY91" fmla="*/ 36675 h 36784"/>
                <a:gd name="connsiteX92" fmla="*/ 119332 w 189687"/>
                <a:gd name="connsiteY92" fmla="*/ 36341 h 36784"/>
                <a:gd name="connsiteX93" fmla="*/ 116227 w 189687"/>
                <a:gd name="connsiteY93" fmla="*/ 35456 h 36784"/>
                <a:gd name="connsiteX94" fmla="*/ 116227 w 189687"/>
                <a:gd name="connsiteY94" fmla="*/ 29915 h 36784"/>
                <a:gd name="connsiteX95" fmla="*/ 119551 w 189687"/>
                <a:gd name="connsiteY95" fmla="*/ 31579 h 36784"/>
                <a:gd name="connsiteX96" fmla="*/ 122765 w 189687"/>
                <a:gd name="connsiteY96" fmla="*/ 32241 h 36784"/>
                <a:gd name="connsiteX97" fmla="*/ 125645 w 189687"/>
                <a:gd name="connsiteY97" fmla="*/ 31688 h 36784"/>
                <a:gd name="connsiteX98" fmla="*/ 126533 w 189687"/>
                <a:gd name="connsiteY98" fmla="*/ 29915 h 36784"/>
                <a:gd name="connsiteX99" fmla="*/ 125536 w 189687"/>
                <a:gd name="connsiteY99" fmla="*/ 27920 h 36784"/>
                <a:gd name="connsiteX100" fmla="*/ 121990 w 189687"/>
                <a:gd name="connsiteY100" fmla="*/ 26038 h 36784"/>
                <a:gd name="connsiteX101" fmla="*/ 117559 w 189687"/>
                <a:gd name="connsiteY101" fmla="*/ 23045 h 36784"/>
                <a:gd name="connsiteX102" fmla="*/ 116227 w 189687"/>
                <a:gd name="connsiteY102" fmla="*/ 18836 h 36784"/>
                <a:gd name="connsiteX103" fmla="*/ 118775 w 189687"/>
                <a:gd name="connsiteY103" fmla="*/ 13518 h 36784"/>
                <a:gd name="connsiteX104" fmla="*/ 125536 w 189687"/>
                <a:gd name="connsiteY104" fmla="*/ 11413 h 36784"/>
                <a:gd name="connsiteX105" fmla="*/ 128416 w 189687"/>
                <a:gd name="connsiteY105" fmla="*/ 11745 h 36784"/>
                <a:gd name="connsiteX106" fmla="*/ 131077 w 189687"/>
                <a:gd name="connsiteY106" fmla="*/ 12520 h 36784"/>
                <a:gd name="connsiteX107" fmla="*/ 131077 w 189687"/>
                <a:gd name="connsiteY107" fmla="*/ 17726 h 36784"/>
                <a:gd name="connsiteX108" fmla="*/ 128416 w 189687"/>
                <a:gd name="connsiteY108" fmla="*/ 16397 h 36784"/>
                <a:gd name="connsiteX109" fmla="*/ 125423 w 189687"/>
                <a:gd name="connsiteY109" fmla="*/ 15844 h 36784"/>
                <a:gd name="connsiteX110" fmla="*/ 122875 w 189687"/>
                <a:gd name="connsiteY110" fmla="*/ 16510 h 36784"/>
                <a:gd name="connsiteX111" fmla="*/ 122099 w 189687"/>
                <a:gd name="connsiteY111" fmla="*/ 18283 h 36784"/>
                <a:gd name="connsiteX112" fmla="*/ 134954 w 189687"/>
                <a:gd name="connsiteY112" fmla="*/ 24377 h 36784"/>
                <a:gd name="connsiteX113" fmla="*/ 138278 w 189687"/>
                <a:gd name="connsiteY113" fmla="*/ 14959 h 36784"/>
                <a:gd name="connsiteX114" fmla="*/ 147696 w 189687"/>
                <a:gd name="connsiteY114" fmla="*/ 11413 h 36784"/>
                <a:gd name="connsiteX115" fmla="*/ 156558 w 189687"/>
                <a:gd name="connsiteY115" fmla="*/ 14737 h 36784"/>
                <a:gd name="connsiteX116" fmla="*/ 159772 w 189687"/>
                <a:gd name="connsiteY116" fmla="*/ 23821 h 36784"/>
                <a:gd name="connsiteX117" fmla="*/ 156448 w 189687"/>
                <a:gd name="connsiteY117" fmla="*/ 33130 h 36784"/>
                <a:gd name="connsiteX118" fmla="*/ 147252 w 189687"/>
                <a:gd name="connsiteY118" fmla="*/ 36563 h 36784"/>
                <a:gd name="connsiteX119" fmla="*/ 138387 w 189687"/>
                <a:gd name="connsiteY119" fmla="*/ 33239 h 36784"/>
                <a:gd name="connsiteX120" fmla="*/ 134954 w 189687"/>
                <a:gd name="connsiteY120" fmla="*/ 24377 h 36784"/>
                <a:gd name="connsiteX121" fmla="*/ 140826 w 189687"/>
                <a:gd name="connsiteY121" fmla="*/ 24155 h 36784"/>
                <a:gd name="connsiteX122" fmla="*/ 142487 w 189687"/>
                <a:gd name="connsiteY122" fmla="*/ 29915 h 36784"/>
                <a:gd name="connsiteX123" fmla="*/ 147361 w 189687"/>
                <a:gd name="connsiteY123" fmla="*/ 31910 h 36784"/>
                <a:gd name="connsiteX124" fmla="*/ 152018 w 189687"/>
                <a:gd name="connsiteY124" fmla="*/ 29915 h 36784"/>
                <a:gd name="connsiteX125" fmla="*/ 153678 w 189687"/>
                <a:gd name="connsiteY125" fmla="*/ 24043 h 36784"/>
                <a:gd name="connsiteX126" fmla="*/ 152018 w 189687"/>
                <a:gd name="connsiteY126" fmla="*/ 18170 h 36784"/>
                <a:gd name="connsiteX127" fmla="*/ 147361 w 189687"/>
                <a:gd name="connsiteY127" fmla="*/ 16175 h 36784"/>
                <a:gd name="connsiteX128" fmla="*/ 142487 w 189687"/>
                <a:gd name="connsiteY128" fmla="*/ 18283 h 36784"/>
                <a:gd name="connsiteX129" fmla="*/ 140826 w 189687"/>
                <a:gd name="connsiteY129" fmla="*/ 24155 h 36784"/>
                <a:gd name="connsiteX130" fmla="*/ 178496 w 189687"/>
                <a:gd name="connsiteY130" fmla="*/ 16619 h 36784"/>
                <a:gd name="connsiteX131" fmla="*/ 170075 w 189687"/>
                <a:gd name="connsiteY131" fmla="*/ 16619 h 36784"/>
                <a:gd name="connsiteX132" fmla="*/ 170075 w 189687"/>
                <a:gd name="connsiteY132" fmla="*/ 36009 h 36784"/>
                <a:gd name="connsiteX133" fmla="*/ 164316 w 189687"/>
                <a:gd name="connsiteY133" fmla="*/ 36009 h 36784"/>
                <a:gd name="connsiteX134" fmla="*/ 164316 w 189687"/>
                <a:gd name="connsiteY134" fmla="*/ 16619 h 36784"/>
                <a:gd name="connsiteX135" fmla="*/ 160326 w 189687"/>
                <a:gd name="connsiteY135" fmla="*/ 16619 h 36784"/>
                <a:gd name="connsiteX136" fmla="*/ 160326 w 189687"/>
                <a:gd name="connsiteY136" fmla="*/ 11967 h 36784"/>
                <a:gd name="connsiteX137" fmla="*/ 164316 w 189687"/>
                <a:gd name="connsiteY137" fmla="*/ 11967 h 36784"/>
                <a:gd name="connsiteX138" fmla="*/ 164316 w 189687"/>
                <a:gd name="connsiteY138" fmla="*/ 8643 h 36784"/>
                <a:gd name="connsiteX139" fmla="*/ 166751 w 189687"/>
                <a:gd name="connsiteY139" fmla="*/ 2439 h 36784"/>
                <a:gd name="connsiteX140" fmla="*/ 173068 w 189687"/>
                <a:gd name="connsiteY140" fmla="*/ 0 h 36784"/>
                <a:gd name="connsiteX141" fmla="*/ 174841 w 189687"/>
                <a:gd name="connsiteY141" fmla="*/ 109 h 36784"/>
                <a:gd name="connsiteX142" fmla="*/ 176282 w 189687"/>
                <a:gd name="connsiteY142" fmla="*/ 444 h 36784"/>
                <a:gd name="connsiteX143" fmla="*/ 176282 w 189687"/>
                <a:gd name="connsiteY143" fmla="*/ 5319 h 36784"/>
                <a:gd name="connsiteX144" fmla="*/ 175285 w 189687"/>
                <a:gd name="connsiteY144" fmla="*/ 4875 h 36784"/>
                <a:gd name="connsiteX145" fmla="*/ 173621 w 189687"/>
                <a:gd name="connsiteY145" fmla="*/ 4653 h 36784"/>
                <a:gd name="connsiteX146" fmla="*/ 170851 w 189687"/>
                <a:gd name="connsiteY146" fmla="*/ 5763 h 36784"/>
                <a:gd name="connsiteX147" fmla="*/ 169853 w 189687"/>
                <a:gd name="connsiteY147" fmla="*/ 9087 h 36784"/>
                <a:gd name="connsiteX148" fmla="*/ 169853 w 189687"/>
                <a:gd name="connsiteY148" fmla="*/ 11967 h 36784"/>
                <a:gd name="connsiteX149" fmla="*/ 178274 w 189687"/>
                <a:gd name="connsiteY149" fmla="*/ 11967 h 36784"/>
                <a:gd name="connsiteX150" fmla="*/ 178274 w 189687"/>
                <a:gd name="connsiteY150" fmla="*/ 6538 h 36784"/>
                <a:gd name="connsiteX151" fmla="*/ 183928 w 189687"/>
                <a:gd name="connsiteY151" fmla="*/ 4765 h 36784"/>
                <a:gd name="connsiteX152" fmla="*/ 183928 w 189687"/>
                <a:gd name="connsiteY152" fmla="*/ 11854 h 36784"/>
                <a:gd name="connsiteX153" fmla="*/ 189687 w 189687"/>
                <a:gd name="connsiteY153" fmla="*/ 11854 h 36784"/>
                <a:gd name="connsiteX154" fmla="*/ 189687 w 189687"/>
                <a:gd name="connsiteY154" fmla="*/ 16619 h 36784"/>
                <a:gd name="connsiteX155" fmla="*/ 183928 w 189687"/>
                <a:gd name="connsiteY155" fmla="*/ 16619 h 36784"/>
                <a:gd name="connsiteX156" fmla="*/ 183928 w 189687"/>
                <a:gd name="connsiteY156" fmla="*/ 27920 h 36784"/>
                <a:gd name="connsiteX157" fmla="*/ 184703 w 189687"/>
                <a:gd name="connsiteY157" fmla="*/ 31025 h 36784"/>
                <a:gd name="connsiteX158" fmla="*/ 187251 w 189687"/>
                <a:gd name="connsiteY158" fmla="*/ 31910 h 36784"/>
                <a:gd name="connsiteX159" fmla="*/ 188468 w 189687"/>
                <a:gd name="connsiteY159" fmla="*/ 31688 h 36784"/>
                <a:gd name="connsiteX160" fmla="*/ 189687 w 189687"/>
                <a:gd name="connsiteY160" fmla="*/ 31135 h 36784"/>
                <a:gd name="connsiteX161" fmla="*/ 189687 w 189687"/>
                <a:gd name="connsiteY161" fmla="*/ 35787 h 36784"/>
                <a:gd name="connsiteX162" fmla="*/ 187914 w 189687"/>
                <a:gd name="connsiteY162" fmla="*/ 36341 h 36784"/>
                <a:gd name="connsiteX163" fmla="*/ 185479 w 189687"/>
                <a:gd name="connsiteY163" fmla="*/ 36563 h 36784"/>
                <a:gd name="connsiteX164" fmla="*/ 180047 w 189687"/>
                <a:gd name="connsiteY164" fmla="*/ 34681 h 36784"/>
                <a:gd name="connsiteX165" fmla="*/ 178274 w 189687"/>
                <a:gd name="connsiteY165" fmla="*/ 28918 h 36784"/>
                <a:gd name="connsiteX166" fmla="*/ 178274 w 189687"/>
                <a:gd name="connsiteY166" fmla="*/ 16619 h 36784"/>
                <a:gd name="connsiteX167" fmla="*/ 178496 w 189687"/>
                <a:gd name="connsiteY167" fmla="*/ 16619 h 36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89687" h="36784">
                  <a:moveTo>
                    <a:pt x="36453" y="2439"/>
                  </a:moveTo>
                  <a:lnTo>
                    <a:pt x="36453" y="36009"/>
                  </a:lnTo>
                  <a:lnTo>
                    <a:pt x="30581" y="36009"/>
                  </a:lnTo>
                  <a:lnTo>
                    <a:pt x="30581" y="9750"/>
                  </a:lnTo>
                  <a:lnTo>
                    <a:pt x="30468" y="9750"/>
                  </a:lnTo>
                  <a:lnTo>
                    <a:pt x="20056" y="36122"/>
                  </a:lnTo>
                  <a:lnTo>
                    <a:pt x="16175" y="36122"/>
                  </a:lnTo>
                  <a:lnTo>
                    <a:pt x="5541" y="9750"/>
                  </a:lnTo>
                  <a:lnTo>
                    <a:pt x="5428" y="9750"/>
                  </a:lnTo>
                  <a:lnTo>
                    <a:pt x="5428" y="36122"/>
                  </a:lnTo>
                  <a:lnTo>
                    <a:pt x="0" y="36122"/>
                  </a:lnTo>
                  <a:lnTo>
                    <a:pt x="0" y="2439"/>
                  </a:lnTo>
                  <a:lnTo>
                    <a:pt x="8311" y="2439"/>
                  </a:lnTo>
                  <a:lnTo>
                    <a:pt x="17948" y="27367"/>
                  </a:lnTo>
                  <a:lnTo>
                    <a:pt x="18061" y="27367"/>
                  </a:lnTo>
                  <a:lnTo>
                    <a:pt x="28255" y="2439"/>
                  </a:lnTo>
                  <a:lnTo>
                    <a:pt x="36453" y="2439"/>
                  </a:lnTo>
                  <a:lnTo>
                    <a:pt x="36453" y="2439"/>
                  </a:lnTo>
                  <a:close/>
                  <a:moveTo>
                    <a:pt x="41328" y="4987"/>
                  </a:moveTo>
                  <a:cubicBezTo>
                    <a:pt x="41328" y="4099"/>
                    <a:pt x="41660" y="3214"/>
                    <a:pt x="42326" y="2658"/>
                  </a:cubicBezTo>
                  <a:cubicBezTo>
                    <a:pt x="42989" y="1995"/>
                    <a:pt x="43764" y="1664"/>
                    <a:pt x="44762" y="1664"/>
                  </a:cubicBezTo>
                  <a:cubicBezTo>
                    <a:pt x="45759" y="1664"/>
                    <a:pt x="46535" y="1995"/>
                    <a:pt x="47201" y="2658"/>
                  </a:cubicBezTo>
                  <a:cubicBezTo>
                    <a:pt x="47867" y="3324"/>
                    <a:pt x="48198" y="4099"/>
                    <a:pt x="48198" y="4987"/>
                  </a:cubicBezTo>
                  <a:cubicBezTo>
                    <a:pt x="48198" y="5872"/>
                    <a:pt x="47867" y="6648"/>
                    <a:pt x="47201" y="7314"/>
                  </a:cubicBezTo>
                  <a:cubicBezTo>
                    <a:pt x="46535" y="7977"/>
                    <a:pt x="45759" y="8199"/>
                    <a:pt x="44762" y="8199"/>
                  </a:cubicBezTo>
                  <a:cubicBezTo>
                    <a:pt x="43764" y="8199"/>
                    <a:pt x="42989" y="7867"/>
                    <a:pt x="42326" y="7201"/>
                  </a:cubicBezTo>
                  <a:cubicBezTo>
                    <a:pt x="41660" y="6760"/>
                    <a:pt x="41328" y="5982"/>
                    <a:pt x="41328" y="4987"/>
                  </a:cubicBezTo>
                  <a:close/>
                  <a:moveTo>
                    <a:pt x="47645" y="11967"/>
                  </a:moveTo>
                  <a:lnTo>
                    <a:pt x="47645" y="36009"/>
                  </a:lnTo>
                  <a:lnTo>
                    <a:pt x="41991" y="36009"/>
                  </a:lnTo>
                  <a:lnTo>
                    <a:pt x="41991" y="11967"/>
                  </a:lnTo>
                  <a:lnTo>
                    <a:pt x="47645" y="11967"/>
                  </a:lnTo>
                  <a:close/>
                  <a:moveTo>
                    <a:pt x="64818" y="31910"/>
                  </a:moveTo>
                  <a:cubicBezTo>
                    <a:pt x="65702" y="31910"/>
                    <a:pt x="66591" y="31688"/>
                    <a:pt x="67588" y="31357"/>
                  </a:cubicBezTo>
                  <a:cubicBezTo>
                    <a:pt x="68586" y="30913"/>
                    <a:pt x="69583" y="30468"/>
                    <a:pt x="70359" y="29806"/>
                  </a:cubicBezTo>
                  <a:lnTo>
                    <a:pt x="70359" y="35125"/>
                  </a:lnTo>
                  <a:cubicBezTo>
                    <a:pt x="69470" y="35678"/>
                    <a:pt x="68473" y="36009"/>
                    <a:pt x="67253" y="36341"/>
                  </a:cubicBezTo>
                  <a:cubicBezTo>
                    <a:pt x="66146" y="36563"/>
                    <a:pt x="64818" y="36785"/>
                    <a:pt x="63489" y="36785"/>
                  </a:cubicBezTo>
                  <a:cubicBezTo>
                    <a:pt x="59943" y="36785"/>
                    <a:pt x="57063" y="35678"/>
                    <a:pt x="54846" y="33461"/>
                  </a:cubicBezTo>
                  <a:cubicBezTo>
                    <a:pt x="52629" y="31244"/>
                    <a:pt x="51522" y="28364"/>
                    <a:pt x="51522" y="24931"/>
                  </a:cubicBezTo>
                  <a:cubicBezTo>
                    <a:pt x="51522" y="21054"/>
                    <a:pt x="52629" y="17839"/>
                    <a:pt x="54955" y="15400"/>
                  </a:cubicBezTo>
                  <a:cubicBezTo>
                    <a:pt x="57172" y="12851"/>
                    <a:pt x="60387" y="11635"/>
                    <a:pt x="64596" y="11635"/>
                  </a:cubicBezTo>
                  <a:cubicBezTo>
                    <a:pt x="65702" y="11635"/>
                    <a:pt x="66700" y="11745"/>
                    <a:pt x="67810" y="12076"/>
                  </a:cubicBezTo>
                  <a:cubicBezTo>
                    <a:pt x="68917" y="12298"/>
                    <a:pt x="69802" y="12633"/>
                    <a:pt x="70359" y="13074"/>
                  </a:cubicBezTo>
                  <a:lnTo>
                    <a:pt x="70359" y="18505"/>
                  </a:lnTo>
                  <a:cubicBezTo>
                    <a:pt x="69470" y="17839"/>
                    <a:pt x="68586" y="17395"/>
                    <a:pt x="67697" y="17064"/>
                  </a:cubicBezTo>
                  <a:cubicBezTo>
                    <a:pt x="66813" y="16732"/>
                    <a:pt x="65815" y="16510"/>
                    <a:pt x="64927" y="16510"/>
                  </a:cubicBezTo>
                  <a:cubicBezTo>
                    <a:pt x="62713" y="16510"/>
                    <a:pt x="60940" y="17286"/>
                    <a:pt x="59499" y="18724"/>
                  </a:cubicBezTo>
                  <a:cubicBezTo>
                    <a:pt x="58170" y="20165"/>
                    <a:pt x="57394" y="22160"/>
                    <a:pt x="57394" y="24596"/>
                  </a:cubicBezTo>
                  <a:cubicBezTo>
                    <a:pt x="57394" y="27035"/>
                    <a:pt x="58057" y="28918"/>
                    <a:pt x="59389" y="30250"/>
                  </a:cubicBezTo>
                  <a:cubicBezTo>
                    <a:pt x="60718" y="31244"/>
                    <a:pt x="62491" y="31910"/>
                    <a:pt x="64818" y="31910"/>
                  </a:cubicBezTo>
                  <a:close/>
                  <a:moveTo>
                    <a:pt x="86534" y="11635"/>
                  </a:moveTo>
                  <a:cubicBezTo>
                    <a:pt x="86978" y="11635"/>
                    <a:pt x="87419" y="11635"/>
                    <a:pt x="87753" y="11745"/>
                  </a:cubicBezTo>
                  <a:cubicBezTo>
                    <a:pt x="88085" y="11854"/>
                    <a:pt x="88416" y="11854"/>
                    <a:pt x="88638" y="11967"/>
                  </a:cubicBezTo>
                  <a:lnTo>
                    <a:pt x="88638" y="17726"/>
                  </a:lnTo>
                  <a:cubicBezTo>
                    <a:pt x="88307" y="17508"/>
                    <a:pt x="87863" y="17286"/>
                    <a:pt x="87309" y="17064"/>
                  </a:cubicBezTo>
                  <a:cubicBezTo>
                    <a:pt x="86756" y="16841"/>
                    <a:pt x="86090" y="16732"/>
                    <a:pt x="85205" y="16732"/>
                  </a:cubicBezTo>
                  <a:cubicBezTo>
                    <a:pt x="83763" y="16732"/>
                    <a:pt x="82657" y="17286"/>
                    <a:pt x="81659" y="18505"/>
                  </a:cubicBezTo>
                  <a:cubicBezTo>
                    <a:pt x="80662" y="19721"/>
                    <a:pt x="80218" y="21494"/>
                    <a:pt x="80218" y="23933"/>
                  </a:cubicBezTo>
                  <a:lnTo>
                    <a:pt x="80218" y="36122"/>
                  </a:lnTo>
                  <a:lnTo>
                    <a:pt x="74567" y="36122"/>
                  </a:lnTo>
                  <a:lnTo>
                    <a:pt x="74567" y="11967"/>
                  </a:lnTo>
                  <a:lnTo>
                    <a:pt x="80218" y="11967"/>
                  </a:lnTo>
                  <a:lnTo>
                    <a:pt x="80218" y="15735"/>
                  </a:lnTo>
                  <a:lnTo>
                    <a:pt x="80330" y="15735"/>
                  </a:lnTo>
                  <a:cubicBezTo>
                    <a:pt x="80884" y="14402"/>
                    <a:pt x="81659" y="13408"/>
                    <a:pt x="82657" y="12633"/>
                  </a:cubicBezTo>
                  <a:cubicBezTo>
                    <a:pt x="83763" y="11967"/>
                    <a:pt x="85092" y="11635"/>
                    <a:pt x="86534" y="11635"/>
                  </a:cubicBezTo>
                  <a:close/>
                  <a:moveTo>
                    <a:pt x="88973" y="24377"/>
                  </a:moveTo>
                  <a:cubicBezTo>
                    <a:pt x="88973" y="20387"/>
                    <a:pt x="90080" y="17286"/>
                    <a:pt x="92297" y="14959"/>
                  </a:cubicBezTo>
                  <a:cubicBezTo>
                    <a:pt x="94511" y="12633"/>
                    <a:pt x="97612" y="11413"/>
                    <a:pt x="101715" y="11413"/>
                  </a:cubicBezTo>
                  <a:cubicBezTo>
                    <a:pt x="105480" y="11413"/>
                    <a:pt x="108472" y="12520"/>
                    <a:pt x="110577" y="14737"/>
                  </a:cubicBezTo>
                  <a:cubicBezTo>
                    <a:pt x="112681" y="16951"/>
                    <a:pt x="113791" y="20056"/>
                    <a:pt x="113791" y="23821"/>
                  </a:cubicBezTo>
                  <a:cubicBezTo>
                    <a:pt x="113791" y="27701"/>
                    <a:pt x="112681" y="30803"/>
                    <a:pt x="110467" y="33130"/>
                  </a:cubicBezTo>
                  <a:cubicBezTo>
                    <a:pt x="108250" y="35456"/>
                    <a:pt x="105148" y="36563"/>
                    <a:pt x="101271" y="36563"/>
                  </a:cubicBezTo>
                  <a:cubicBezTo>
                    <a:pt x="97503" y="36563"/>
                    <a:pt x="94623" y="35456"/>
                    <a:pt x="92406" y="33239"/>
                  </a:cubicBezTo>
                  <a:cubicBezTo>
                    <a:pt x="90080" y="31135"/>
                    <a:pt x="88973" y="28142"/>
                    <a:pt x="88973" y="24377"/>
                  </a:cubicBezTo>
                  <a:close/>
                  <a:moveTo>
                    <a:pt x="94845" y="24155"/>
                  </a:moveTo>
                  <a:cubicBezTo>
                    <a:pt x="94845" y="26704"/>
                    <a:pt x="95399" y="28586"/>
                    <a:pt x="96506" y="29915"/>
                  </a:cubicBezTo>
                  <a:cubicBezTo>
                    <a:pt x="97612" y="31244"/>
                    <a:pt x="99276" y="31910"/>
                    <a:pt x="101380" y="31910"/>
                  </a:cubicBezTo>
                  <a:cubicBezTo>
                    <a:pt x="103485" y="31910"/>
                    <a:pt x="105039" y="31244"/>
                    <a:pt x="106033" y="29915"/>
                  </a:cubicBezTo>
                  <a:cubicBezTo>
                    <a:pt x="107143" y="28586"/>
                    <a:pt x="107697" y="26591"/>
                    <a:pt x="107697" y="24043"/>
                  </a:cubicBezTo>
                  <a:cubicBezTo>
                    <a:pt x="107697" y="21494"/>
                    <a:pt x="107143" y="19499"/>
                    <a:pt x="106033" y="18170"/>
                  </a:cubicBezTo>
                  <a:cubicBezTo>
                    <a:pt x="104926" y="16841"/>
                    <a:pt x="103375" y="16175"/>
                    <a:pt x="101380" y="16175"/>
                  </a:cubicBezTo>
                  <a:cubicBezTo>
                    <a:pt x="99276" y="16175"/>
                    <a:pt x="97725" y="16841"/>
                    <a:pt x="96506" y="18283"/>
                  </a:cubicBezTo>
                  <a:cubicBezTo>
                    <a:pt x="95399" y="19612"/>
                    <a:pt x="94845" y="21607"/>
                    <a:pt x="94845" y="24155"/>
                  </a:cubicBezTo>
                  <a:close/>
                  <a:moveTo>
                    <a:pt x="122099" y="18283"/>
                  </a:moveTo>
                  <a:cubicBezTo>
                    <a:pt x="122099" y="19059"/>
                    <a:pt x="122321" y="19721"/>
                    <a:pt x="122875" y="20165"/>
                  </a:cubicBezTo>
                  <a:cubicBezTo>
                    <a:pt x="123431" y="20609"/>
                    <a:pt x="124538" y="21163"/>
                    <a:pt x="126311" y="21938"/>
                  </a:cubicBezTo>
                  <a:cubicBezTo>
                    <a:pt x="128528" y="22823"/>
                    <a:pt x="130189" y="23821"/>
                    <a:pt x="131077" y="25040"/>
                  </a:cubicBezTo>
                  <a:cubicBezTo>
                    <a:pt x="131962" y="26147"/>
                    <a:pt x="132406" y="27589"/>
                    <a:pt x="132406" y="29140"/>
                  </a:cubicBezTo>
                  <a:cubicBezTo>
                    <a:pt x="132406" y="31357"/>
                    <a:pt x="131517" y="33239"/>
                    <a:pt x="129744" y="34568"/>
                  </a:cubicBezTo>
                  <a:cubicBezTo>
                    <a:pt x="127972" y="35900"/>
                    <a:pt x="125645" y="36675"/>
                    <a:pt x="122656" y="36675"/>
                  </a:cubicBezTo>
                  <a:cubicBezTo>
                    <a:pt x="121658" y="36675"/>
                    <a:pt x="120548" y="36563"/>
                    <a:pt x="119332" y="36341"/>
                  </a:cubicBezTo>
                  <a:cubicBezTo>
                    <a:pt x="118113" y="36122"/>
                    <a:pt x="117115" y="35787"/>
                    <a:pt x="116227" y="35456"/>
                  </a:cubicBezTo>
                  <a:lnTo>
                    <a:pt x="116227" y="29915"/>
                  </a:lnTo>
                  <a:cubicBezTo>
                    <a:pt x="117224" y="30581"/>
                    <a:pt x="118335" y="31244"/>
                    <a:pt x="119551" y="31579"/>
                  </a:cubicBezTo>
                  <a:cubicBezTo>
                    <a:pt x="120770" y="32019"/>
                    <a:pt x="121768" y="32241"/>
                    <a:pt x="122765" y="32241"/>
                  </a:cubicBezTo>
                  <a:cubicBezTo>
                    <a:pt x="124094" y="32241"/>
                    <a:pt x="124982" y="32019"/>
                    <a:pt x="125645" y="31688"/>
                  </a:cubicBezTo>
                  <a:cubicBezTo>
                    <a:pt x="126199" y="31357"/>
                    <a:pt x="126533" y="30690"/>
                    <a:pt x="126533" y="29915"/>
                  </a:cubicBezTo>
                  <a:cubicBezTo>
                    <a:pt x="126533" y="29140"/>
                    <a:pt x="126199" y="28477"/>
                    <a:pt x="125536" y="27920"/>
                  </a:cubicBezTo>
                  <a:cubicBezTo>
                    <a:pt x="124870" y="27367"/>
                    <a:pt x="123650" y="26813"/>
                    <a:pt x="121990" y="26038"/>
                  </a:cubicBezTo>
                  <a:cubicBezTo>
                    <a:pt x="119886" y="25153"/>
                    <a:pt x="118444" y="24155"/>
                    <a:pt x="117559" y="23045"/>
                  </a:cubicBezTo>
                  <a:cubicBezTo>
                    <a:pt x="116671" y="21938"/>
                    <a:pt x="116227" y="20609"/>
                    <a:pt x="116227" y="18836"/>
                  </a:cubicBezTo>
                  <a:cubicBezTo>
                    <a:pt x="116227" y="16619"/>
                    <a:pt x="117115" y="14846"/>
                    <a:pt x="118775" y="13518"/>
                  </a:cubicBezTo>
                  <a:cubicBezTo>
                    <a:pt x="120548" y="12076"/>
                    <a:pt x="122765" y="11413"/>
                    <a:pt x="125536" y="11413"/>
                  </a:cubicBezTo>
                  <a:cubicBezTo>
                    <a:pt x="126421" y="11413"/>
                    <a:pt x="127309" y="11523"/>
                    <a:pt x="128416" y="11745"/>
                  </a:cubicBezTo>
                  <a:cubicBezTo>
                    <a:pt x="129413" y="11967"/>
                    <a:pt x="130301" y="12189"/>
                    <a:pt x="131077" y="12520"/>
                  </a:cubicBezTo>
                  <a:lnTo>
                    <a:pt x="131077" y="17726"/>
                  </a:lnTo>
                  <a:cubicBezTo>
                    <a:pt x="130301" y="17173"/>
                    <a:pt x="129413" y="16841"/>
                    <a:pt x="128416" y="16397"/>
                  </a:cubicBezTo>
                  <a:cubicBezTo>
                    <a:pt x="127418" y="16066"/>
                    <a:pt x="126421" y="15844"/>
                    <a:pt x="125423" y="15844"/>
                  </a:cubicBezTo>
                  <a:cubicBezTo>
                    <a:pt x="124316" y="15844"/>
                    <a:pt x="123541" y="16066"/>
                    <a:pt x="122875" y="16510"/>
                  </a:cubicBezTo>
                  <a:cubicBezTo>
                    <a:pt x="122434" y="16951"/>
                    <a:pt x="122099" y="17617"/>
                    <a:pt x="122099" y="18283"/>
                  </a:cubicBezTo>
                  <a:close/>
                  <a:moveTo>
                    <a:pt x="134954" y="24377"/>
                  </a:moveTo>
                  <a:cubicBezTo>
                    <a:pt x="134954" y="20387"/>
                    <a:pt x="136061" y="17286"/>
                    <a:pt x="138278" y="14959"/>
                  </a:cubicBezTo>
                  <a:cubicBezTo>
                    <a:pt x="140492" y="12633"/>
                    <a:pt x="143597" y="11413"/>
                    <a:pt x="147696" y="11413"/>
                  </a:cubicBezTo>
                  <a:cubicBezTo>
                    <a:pt x="151461" y="11413"/>
                    <a:pt x="154453" y="12520"/>
                    <a:pt x="156558" y="14737"/>
                  </a:cubicBezTo>
                  <a:cubicBezTo>
                    <a:pt x="158665" y="16951"/>
                    <a:pt x="159772" y="20056"/>
                    <a:pt x="159772" y="23821"/>
                  </a:cubicBezTo>
                  <a:cubicBezTo>
                    <a:pt x="159772" y="27701"/>
                    <a:pt x="158665" y="30803"/>
                    <a:pt x="156448" y="33130"/>
                  </a:cubicBezTo>
                  <a:cubicBezTo>
                    <a:pt x="154231" y="35456"/>
                    <a:pt x="151129" y="36563"/>
                    <a:pt x="147252" y="36563"/>
                  </a:cubicBezTo>
                  <a:cubicBezTo>
                    <a:pt x="143484" y="36563"/>
                    <a:pt x="140604" y="35456"/>
                    <a:pt x="138387" y="33239"/>
                  </a:cubicBezTo>
                  <a:cubicBezTo>
                    <a:pt x="135952" y="31135"/>
                    <a:pt x="134954" y="28142"/>
                    <a:pt x="134954" y="24377"/>
                  </a:cubicBezTo>
                  <a:close/>
                  <a:moveTo>
                    <a:pt x="140826" y="24155"/>
                  </a:moveTo>
                  <a:cubicBezTo>
                    <a:pt x="140826" y="26704"/>
                    <a:pt x="141380" y="28586"/>
                    <a:pt x="142487" y="29915"/>
                  </a:cubicBezTo>
                  <a:cubicBezTo>
                    <a:pt x="143597" y="31244"/>
                    <a:pt x="145257" y="31910"/>
                    <a:pt x="147361" y="31910"/>
                  </a:cubicBezTo>
                  <a:cubicBezTo>
                    <a:pt x="149469" y="31910"/>
                    <a:pt x="151020" y="31244"/>
                    <a:pt x="152018" y="29915"/>
                  </a:cubicBezTo>
                  <a:cubicBezTo>
                    <a:pt x="153124" y="28586"/>
                    <a:pt x="153678" y="26591"/>
                    <a:pt x="153678" y="24043"/>
                  </a:cubicBezTo>
                  <a:cubicBezTo>
                    <a:pt x="153678" y="21494"/>
                    <a:pt x="153124" y="19499"/>
                    <a:pt x="152018" y="18170"/>
                  </a:cubicBezTo>
                  <a:cubicBezTo>
                    <a:pt x="150907" y="16841"/>
                    <a:pt x="149356" y="16175"/>
                    <a:pt x="147361" y="16175"/>
                  </a:cubicBezTo>
                  <a:cubicBezTo>
                    <a:pt x="145257" y="16175"/>
                    <a:pt x="143706" y="16841"/>
                    <a:pt x="142487" y="18283"/>
                  </a:cubicBezTo>
                  <a:cubicBezTo>
                    <a:pt x="141380" y="19612"/>
                    <a:pt x="140826" y="21607"/>
                    <a:pt x="140826" y="24155"/>
                  </a:cubicBezTo>
                  <a:close/>
                  <a:moveTo>
                    <a:pt x="178496" y="16619"/>
                  </a:moveTo>
                  <a:lnTo>
                    <a:pt x="170075" y="16619"/>
                  </a:lnTo>
                  <a:lnTo>
                    <a:pt x="170075" y="36009"/>
                  </a:lnTo>
                  <a:lnTo>
                    <a:pt x="164316" y="36009"/>
                  </a:lnTo>
                  <a:lnTo>
                    <a:pt x="164316" y="16619"/>
                  </a:lnTo>
                  <a:lnTo>
                    <a:pt x="160326" y="16619"/>
                  </a:lnTo>
                  <a:lnTo>
                    <a:pt x="160326" y="11967"/>
                  </a:lnTo>
                  <a:lnTo>
                    <a:pt x="164316" y="11967"/>
                  </a:lnTo>
                  <a:lnTo>
                    <a:pt x="164316" y="8643"/>
                  </a:lnTo>
                  <a:cubicBezTo>
                    <a:pt x="164316" y="6094"/>
                    <a:pt x="165091" y="3990"/>
                    <a:pt x="166751" y="2439"/>
                  </a:cubicBezTo>
                  <a:cubicBezTo>
                    <a:pt x="168415" y="775"/>
                    <a:pt x="170519" y="0"/>
                    <a:pt x="173068" y="0"/>
                  </a:cubicBezTo>
                  <a:cubicBezTo>
                    <a:pt x="173734" y="0"/>
                    <a:pt x="174397" y="0"/>
                    <a:pt x="174841" y="109"/>
                  </a:cubicBezTo>
                  <a:cubicBezTo>
                    <a:pt x="175394" y="222"/>
                    <a:pt x="175838" y="331"/>
                    <a:pt x="176282" y="444"/>
                  </a:cubicBezTo>
                  <a:lnTo>
                    <a:pt x="176282" y="5319"/>
                  </a:lnTo>
                  <a:cubicBezTo>
                    <a:pt x="176060" y="5206"/>
                    <a:pt x="175729" y="5097"/>
                    <a:pt x="175285" y="4875"/>
                  </a:cubicBezTo>
                  <a:cubicBezTo>
                    <a:pt x="174841" y="4765"/>
                    <a:pt x="174287" y="4653"/>
                    <a:pt x="173621" y="4653"/>
                  </a:cubicBezTo>
                  <a:cubicBezTo>
                    <a:pt x="172402" y="4653"/>
                    <a:pt x="171517" y="4987"/>
                    <a:pt x="170851" y="5763"/>
                  </a:cubicBezTo>
                  <a:cubicBezTo>
                    <a:pt x="170188" y="6538"/>
                    <a:pt x="169853" y="7645"/>
                    <a:pt x="169853" y="9087"/>
                  </a:cubicBezTo>
                  <a:lnTo>
                    <a:pt x="169853" y="11967"/>
                  </a:lnTo>
                  <a:lnTo>
                    <a:pt x="178274" y="11967"/>
                  </a:lnTo>
                  <a:lnTo>
                    <a:pt x="178274" y="6538"/>
                  </a:lnTo>
                  <a:lnTo>
                    <a:pt x="183928" y="4765"/>
                  </a:lnTo>
                  <a:lnTo>
                    <a:pt x="183928" y="11854"/>
                  </a:lnTo>
                  <a:lnTo>
                    <a:pt x="189687" y="11854"/>
                  </a:lnTo>
                  <a:lnTo>
                    <a:pt x="189687" y="16619"/>
                  </a:lnTo>
                  <a:lnTo>
                    <a:pt x="183928" y="16619"/>
                  </a:lnTo>
                  <a:lnTo>
                    <a:pt x="183928" y="27920"/>
                  </a:lnTo>
                  <a:cubicBezTo>
                    <a:pt x="183928" y="29362"/>
                    <a:pt x="184150" y="30468"/>
                    <a:pt x="184703" y="31025"/>
                  </a:cubicBezTo>
                  <a:cubicBezTo>
                    <a:pt x="185257" y="31579"/>
                    <a:pt x="186141" y="31910"/>
                    <a:pt x="187251" y="31910"/>
                  </a:cubicBezTo>
                  <a:cubicBezTo>
                    <a:pt x="187583" y="31910"/>
                    <a:pt x="188027" y="31801"/>
                    <a:pt x="188468" y="31688"/>
                  </a:cubicBezTo>
                  <a:cubicBezTo>
                    <a:pt x="188912" y="31579"/>
                    <a:pt x="189356" y="31357"/>
                    <a:pt x="189687" y="31135"/>
                  </a:cubicBezTo>
                  <a:lnTo>
                    <a:pt x="189687" y="35787"/>
                  </a:lnTo>
                  <a:cubicBezTo>
                    <a:pt x="189356" y="36009"/>
                    <a:pt x="188690" y="36231"/>
                    <a:pt x="187914" y="36341"/>
                  </a:cubicBezTo>
                  <a:cubicBezTo>
                    <a:pt x="187139" y="36453"/>
                    <a:pt x="186254" y="36563"/>
                    <a:pt x="185479" y="36563"/>
                  </a:cubicBezTo>
                  <a:cubicBezTo>
                    <a:pt x="183039" y="36563"/>
                    <a:pt x="181266" y="35900"/>
                    <a:pt x="180047" y="34681"/>
                  </a:cubicBezTo>
                  <a:cubicBezTo>
                    <a:pt x="178831" y="33461"/>
                    <a:pt x="178274" y="31466"/>
                    <a:pt x="178274" y="28918"/>
                  </a:cubicBezTo>
                  <a:lnTo>
                    <a:pt x="178274" y="16619"/>
                  </a:lnTo>
                  <a:lnTo>
                    <a:pt x="178496" y="16619"/>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59" name="Freeform: Shape 158">
              <a:extLst>
                <a:ext uri="{FF2B5EF4-FFF2-40B4-BE49-F238E27FC236}">
                  <a16:creationId xmlns:a16="http://schemas.microsoft.com/office/drawing/2014/main" id="{9FC9FF12-12E0-4EF7-B1CA-A6F514AF77CF}"/>
                </a:ext>
              </a:extLst>
            </p:cNvPr>
            <p:cNvSpPr/>
            <p:nvPr/>
          </p:nvSpPr>
          <p:spPr>
            <a:xfrm>
              <a:off x="6184939" y="8658811"/>
              <a:ext cx="37894" cy="37891"/>
            </a:xfrm>
            <a:custGeom>
              <a:avLst/>
              <a:gdLst>
                <a:gd name="connsiteX0" fmla="*/ 37894 w 37894"/>
                <a:gd name="connsiteY0" fmla="*/ 0 h 37891"/>
                <a:gd name="connsiteX1" fmla="*/ 0 w 37894"/>
                <a:gd name="connsiteY1" fmla="*/ 0 h 37891"/>
                <a:gd name="connsiteX2" fmla="*/ 0 w 37894"/>
                <a:gd name="connsiteY2" fmla="*/ 37892 h 37891"/>
                <a:gd name="connsiteX3" fmla="*/ 37894 w 37894"/>
                <a:gd name="connsiteY3" fmla="*/ 37892 h 37891"/>
                <a:gd name="connsiteX4" fmla="*/ 37894 w 37894"/>
                <a:gd name="connsiteY4" fmla="*/ 0 h 37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94" h="37891">
                  <a:moveTo>
                    <a:pt x="37894" y="0"/>
                  </a:moveTo>
                  <a:lnTo>
                    <a:pt x="0" y="0"/>
                  </a:lnTo>
                  <a:lnTo>
                    <a:pt x="0" y="37892"/>
                  </a:lnTo>
                  <a:lnTo>
                    <a:pt x="37894" y="37892"/>
                  </a:lnTo>
                  <a:lnTo>
                    <a:pt x="37894" y="0"/>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60" name="Freeform: Shape 159">
              <a:extLst>
                <a:ext uri="{FF2B5EF4-FFF2-40B4-BE49-F238E27FC236}">
                  <a16:creationId xmlns:a16="http://schemas.microsoft.com/office/drawing/2014/main" id="{21CDEBD5-AA26-4EC4-B344-0AEC3148AC9F}"/>
                </a:ext>
              </a:extLst>
            </p:cNvPr>
            <p:cNvSpPr/>
            <p:nvPr/>
          </p:nvSpPr>
          <p:spPr>
            <a:xfrm>
              <a:off x="6226820" y="8658808"/>
              <a:ext cx="37891" cy="37895"/>
            </a:xfrm>
            <a:custGeom>
              <a:avLst/>
              <a:gdLst>
                <a:gd name="connsiteX0" fmla="*/ 37892 w 37891"/>
                <a:gd name="connsiteY0" fmla="*/ 0 h 37895"/>
                <a:gd name="connsiteX1" fmla="*/ 0 w 37891"/>
                <a:gd name="connsiteY1" fmla="*/ 0 h 37895"/>
                <a:gd name="connsiteX2" fmla="*/ 0 w 37891"/>
                <a:gd name="connsiteY2" fmla="*/ 37895 h 37895"/>
                <a:gd name="connsiteX3" fmla="*/ 37892 w 37891"/>
                <a:gd name="connsiteY3" fmla="*/ 37895 h 37895"/>
                <a:gd name="connsiteX4" fmla="*/ 37892 w 37891"/>
                <a:gd name="connsiteY4" fmla="*/ 0 h 3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91" h="37895">
                  <a:moveTo>
                    <a:pt x="37892" y="0"/>
                  </a:moveTo>
                  <a:lnTo>
                    <a:pt x="0" y="0"/>
                  </a:lnTo>
                  <a:lnTo>
                    <a:pt x="0" y="37895"/>
                  </a:lnTo>
                  <a:lnTo>
                    <a:pt x="37892" y="37895"/>
                  </a:lnTo>
                  <a:lnTo>
                    <a:pt x="37892" y="0"/>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61" name="Freeform: Shape 160">
              <a:extLst>
                <a:ext uri="{FF2B5EF4-FFF2-40B4-BE49-F238E27FC236}">
                  <a16:creationId xmlns:a16="http://schemas.microsoft.com/office/drawing/2014/main" id="{44090F7E-51B4-4B76-8D0C-28E6413C38CC}"/>
                </a:ext>
              </a:extLst>
            </p:cNvPr>
            <p:cNvSpPr/>
            <p:nvPr/>
          </p:nvSpPr>
          <p:spPr>
            <a:xfrm>
              <a:off x="6184939" y="8700693"/>
              <a:ext cx="37894" cy="37891"/>
            </a:xfrm>
            <a:custGeom>
              <a:avLst/>
              <a:gdLst>
                <a:gd name="connsiteX0" fmla="*/ 37894 w 37894"/>
                <a:gd name="connsiteY0" fmla="*/ 0 h 37891"/>
                <a:gd name="connsiteX1" fmla="*/ 0 w 37894"/>
                <a:gd name="connsiteY1" fmla="*/ 0 h 37891"/>
                <a:gd name="connsiteX2" fmla="*/ 0 w 37894"/>
                <a:gd name="connsiteY2" fmla="*/ 37892 h 37891"/>
                <a:gd name="connsiteX3" fmla="*/ 37894 w 37894"/>
                <a:gd name="connsiteY3" fmla="*/ 37892 h 37891"/>
                <a:gd name="connsiteX4" fmla="*/ 37894 w 37894"/>
                <a:gd name="connsiteY4" fmla="*/ 0 h 37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94" h="37891">
                  <a:moveTo>
                    <a:pt x="37894" y="0"/>
                  </a:moveTo>
                  <a:lnTo>
                    <a:pt x="0" y="0"/>
                  </a:lnTo>
                  <a:lnTo>
                    <a:pt x="0" y="37892"/>
                  </a:lnTo>
                  <a:lnTo>
                    <a:pt x="37894" y="37892"/>
                  </a:lnTo>
                  <a:lnTo>
                    <a:pt x="37894" y="0"/>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62" name="Freeform: Shape 161">
              <a:extLst>
                <a:ext uri="{FF2B5EF4-FFF2-40B4-BE49-F238E27FC236}">
                  <a16:creationId xmlns:a16="http://schemas.microsoft.com/office/drawing/2014/main" id="{C404C350-7854-4A84-B8A8-EADDDFB56309}"/>
                </a:ext>
              </a:extLst>
            </p:cNvPr>
            <p:cNvSpPr/>
            <p:nvPr/>
          </p:nvSpPr>
          <p:spPr>
            <a:xfrm>
              <a:off x="6226820" y="8700693"/>
              <a:ext cx="37891" cy="37891"/>
            </a:xfrm>
            <a:custGeom>
              <a:avLst/>
              <a:gdLst>
                <a:gd name="connsiteX0" fmla="*/ 37892 w 37891"/>
                <a:gd name="connsiteY0" fmla="*/ 0 h 37891"/>
                <a:gd name="connsiteX1" fmla="*/ 0 w 37891"/>
                <a:gd name="connsiteY1" fmla="*/ 0 h 37891"/>
                <a:gd name="connsiteX2" fmla="*/ 0 w 37891"/>
                <a:gd name="connsiteY2" fmla="*/ 37892 h 37891"/>
                <a:gd name="connsiteX3" fmla="*/ 37892 w 37891"/>
                <a:gd name="connsiteY3" fmla="*/ 37892 h 37891"/>
                <a:gd name="connsiteX4" fmla="*/ 37892 w 37891"/>
                <a:gd name="connsiteY4" fmla="*/ 0 h 37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91" h="37891">
                  <a:moveTo>
                    <a:pt x="37892" y="0"/>
                  </a:moveTo>
                  <a:lnTo>
                    <a:pt x="0" y="0"/>
                  </a:lnTo>
                  <a:lnTo>
                    <a:pt x="0" y="37892"/>
                  </a:lnTo>
                  <a:lnTo>
                    <a:pt x="37892" y="37892"/>
                  </a:lnTo>
                  <a:lnTo>
                    <a:pt x="37892" y="0"/>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63" name="Freeform: Shape 162">
              <a:extLst>
                <a:ext uri="{FF2B5EF4-FFF2-40B4-BE49-F238E27FC236}">
                  <a16:creationId xmlns:a16="http://schemas.microsoft.com/office/drawing/2014/main" id="{30BFD5D4-8EE3-4E88-B817-3537D390BFF8}"/>
                </a:ext>
              </a:extLst>
            </p:cNvPr>
            <p:cNvSpPr/>
            <p:nvPr/>
          </p:nvSpPr>
          <p:spPr>
            <a:xfrm>
              <a:off x="6184939" y="8658811"/>
              <a:ext cx="37894" cy="37891"/>
            </a:xfrm>
            <a:custGeom>
              <a:avLst/>
              <a:gdLst>
                <a:gd name="connsiteX0" fmla="*/ 37894 w 37894"/>
                <a:gd name="connsiteY0" fmla="*/ 0 h 37891"/>
                <a:gd name="connsiteX1" fmla="*/ 0 w 37894"/>
                <a:gd name="connsiteY1" fmla="*/ 0 h 37891"/>
                <a:gd name="connsiteX2" fmla="*/ 0 w 37894"/>
                <a:gd name="connsiteY2" fmla="*/ 37892 h 37891"/>
                <a:gd name="connsiteX3" fmla="*/ 37894 w 37894"/>
                <a:gd name="connsiteY3" fmla="*/ 37892 h 37891"/>
                <a:gd name="connsiteX4" fmla="*/ 37894 w 37894"/>
                <a:gd name="connsiteY4" fmla="*/ 0 h 37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94" h="37891">
                  <a:moveTo>
                    <a:pt x="37894" y="0"/>
                  </a:moveTo>
                  <a:lnTo>
                    <a:pt x="0" y="0"/>
                  </a:lnTo>
                  <a:lnTo>
                    <a:pt x="0" y="37892"/>
                  </a:lnTo>
                  <a:lnTo>
                    <a:pt x="37894" y="37892"/>
                  </a:lnTo>
                  <a:lnTo>
                    <a:pt x="37894" y="0"/>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64" name="Freeform: Shape 163">
              <a:extLst>
                <a:ext uri="{FF2B5EF4-FFF2-40B4-BE49-F238E27FC236}">
                  <a16:creationId xmlns:a16="http://schemas.microsoft.com/office/drawing/2014/main" id="{69582618-33EC-4BCC-9355-A29DF3B70E89}"/>
                </a:ext>
              </a:extLst>
            </p:cNvPr>
            <p:cNvSpPr/>
            <p:nvPr/>
          </p:nvSpPr>
          <p:spPr>
            <a:xfrm>
              <a:off x="6226820" y="8658808"/>
              <a:ext cx="37891" cy="37895"/>
            </a:xfrm>
            <a:custGeom>
              <a:avLst/>
              <a:gdLst>
                <a:gd name="connsiteX0" fmla="*/ 37892 w 37891"/>
                <a:gd name="connsiteY0" fmla="*/ 0 h 37895"/>
                <a:gd name="connsiteX1" fmla="*/ 0 w 37891"/>
                <a:gd name="connsiteY1" fmla="*/ 0 h 37895"/>
                <a:gd name="connsiteX2" fmla="*/ 0 w 37891"/>
                <a:gd name="connsiteY2" fmla="*/ 37895 h 37895"/>
                <a:gd name="connsiteX3" fmla="*/ 37892 w 37891"/>
                <a:gd name="connsiteY3" fmla="*/ 37895 h 37895"/>
                <a:gd name="connsiteX4" fmla="*/ 37892 w 37891"/>
                <a:gd name="connsiteY4" fmla="*/ 0 h 3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91" h="37895">
                  <a:moveTo>
                    <a:pt x="37892" y="0"/>
                  </a:moveTo>
                  <a:lnTo>
                    <a:pt x="0" y="0"/>
                  </a:lnTo>
                  <a:lnTo>
                    <a:pt x="0" y="37895"/>
                  </a:lnTo>
                  <a:lnTo>
                    <a:pt x="37892" y="37895"/>
                  </a:lnTo>
                  <a:lnTo>
                    <a:pt x="37892" y="0"/>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65" name="Freeform: Shape 164">
              <a:extLst>
                <a:ext uri="{FF2B5EF4-FFF2-40B4-BE49-F238E27FC236}">
                  <a16:creationId xmlns:a16="http://schemas.microsoft.com/office/drawing/2014/main" id="{E49335BA-3717-4477-9381-F4887EB533C2}"/>
                </a:ext>
              </a:extLst>
            </p:cNvPr>
            <p:cNvSpPr/>
            <p:nvPr/>
          </p:nvSpPr>
          <p:spPr>
            <a:xfrm>
              <a:off x="6184939" y="8700693"/>
              <a:ext cx="37894" cy="37891"/>
            </a:xfrm>
            <a:custGeom>
              <a:avLst/>
              <a:gdLst>
                <a:gd name="connsiteX0" fmla="*/ 37894 w 37894"/>
                <a:gd name="connsiteY0" fmla="*/ 0 h 37891"/>
                <a:gd name="connsiteX1" fmla="*/ 0 w 37894"/>
                <a:gd name="connsiteY1" fmla="*/ 0 h 37891"/>
                <a:gd name="connsiteX2" fmla="*/ 0 w 37894"/>
                <a:gd name="connsiteY2" fmla="*/ 37892 h 37891"/>
                <a:gd name="connsiteX3" fmla="*/ 37894 w 37894"/>
                <a:gd name="connsiteY3" fmla="*/ 37892 h 37891"/>
                <a:gd name="connsiteX4" fmla="*/ 37894 w 37894"/>
                <a:gd name="connsiteY4" fmla="*/ 0 h 37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94" h="37891">
                  <a:moveTo>
                    <a:pt x="37894" y="0"/>
                  </a:moveTo>
                  <a:lnTo>
                    <a:pt x="0" y="0"/>
                  </a:lnTo>
                  <a:lnTo>
                    <a:pt x="0" y="37892"/>
                  </a:lnTo>
                  <a:lnTo>
                    <a:pt x="37894" y="37892"/>
                  </a:lnTo>
                  <a:lnTo>
                    <a:pt x="37894" y="0"/>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sp>
          <p:nvSpPr>
            <p:cNvPr id="166" name="Freeform: Shape 165">
              <a:extLst>
                <a:ext uri="{FF2B5EF4-FFF2-40B4-BE49-F238E27FC236}">
                  <a16:creationId xmlns:a16="http://schemas.microsoft.com/office/drawing/2014/main" id="{A279F139-CA01-4BC0-837D-087DFAE8C534}"/>
                </a:ext>
              </a:extLst>
            </p:cNvPr>
            <p:cNvSpPr/>
            <p:nvPr/>
          </p:nvSpPr>
          <p:spPr>
            <a:xfrm>
              <a:off x="6226820" y="8700693"/>
              <a:ext cx="37891" cy="37891"/>
            </a:xfrm>
            <a:custGeom>
              <a:avLst/>
              <a:gdLst>
                <a:gd name="connsiteX0" fmla="*/ 37892 w 37891"/>
                <a:gd name="connsiteY0" fmla="*/ 0 h 37891"/>
                <a:gd name="connsiteX1" fmla="*/ 0 w 37891"/>
                <a:gd name="connsiteY1" fmla="*/ 0 h 37891"/>
                <a:gd name="connsiteX2" fmla="*/ 0 w 37891"/>
                <a:gd name="connsiteY2" fmla="*/ 37892 h 37891"/>
                <a:gd name="connsiteX3" fmla="*/ 37892 w 37891"/>
                <a:gd name="connsiteY3" fmla="*/ 37892 h 37891"/>
                <a:gd name="connsiteX4" fmla="*/ 37892 w 37891"/>
                <a:gd name="connsiteY4" fmla="*/ 0 h 37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91" h="37891">
                  <a:moveTo>
                    <a:pt x="37892" y="0"/>
                  </a:moveTo>
                  <a:lnTo>
                    <a:pt x="0" y="0"/>
                  </a:lnTo>
                  <a:lnTo>
                    <a:pt x="0" y="37892"/>
                  </a:lnTo>
                  <a:lnTo>
                    <a:pt x="37892" y="37892"/>
                  </a:lnTo>
                  <a:lnTo>
                    <a:pt x="37892" y="0"/>
                  </a:lnTo>
                  <a:close/>
                </a:path>
              </a:pathLst>
            </a:custGeom>
            <a:solidFill>
              <a:srgbClr val="9B9BA0"/>
            </a:solidFill>
            <a:ln w="3300" cap="flat">
              <a:noFill/>
              <a:prstDash val="solid"/>
              <a:miter/>
            </a:ln>
          </p:spPr>
          <p:txBody>
            <a:bodyPr rot="0" spcFirstLastPara="0" vertOverflow="overflow" horzOverflow="overflow" vert="horz" wrap="square" lIns="86360" tIns="43180" rIns="86360" bIns="43180" numCol="1" spcCol="0" rtlCol="0" fromWordArt="0" anchor="ctr" anchorCtr="0" forceAA="0" compatLnSpc="1">
              <a:prstTxWarp prst="textNoShape">
                <a:avLst/>
              </a:prstTxWarp>
              <a:noAutofit/>
            </a:bodyPr>
            <a:lstStyle/>
            <a:p>
              <a:endParaRPr lang="fr-fr" sz="1650" dirty="0">
                <a:cs typeface="Segoe UI"/>
              </a:endParaRPr>
            </a:p>
          </p:txBody>
        </p:sp>
      </p:grpSp>
      <p:sp>
        <p:nvSpPr>
          <p:cNvPr id="169" name="Rectangle 168">
            <a:extLst>
              <a:ext uri="{FF2B5EF4-FFF2-40B4-BE49-F238E27FC236}">
                <a16:creationId xmlns:a16="http://schemas.microsoft.com/office/drawing/2014/main" id="{2A9F2EB3-6518-42CF-86C3-4BE0A473D38C}"/>
              </a:ext>
            </a:extLst>
          </p:cNvPr>
          <p:cNvSpPr/>
          <p:nvPr/>
        </p:nvSpPr>
        <p:spPr>
          <a:xfrm>
            <a:off x="778113" y="4953642"/>
            <a:ext cx="876664" cy="246221"/>
          </a:xfrm>
          <a:prstGeom prst="rect">
            <a:avLst/>
          </a:prstGeom>
        </p:spPr>
        <p:txBody>
          <a:bodyPr wrap="square" lIns="0" tIns="0" rIns="0" bIns="0" anchor="t">
            <a:spAutoFit/>
          </a:bodyPr>
          <a:lstStyle/>
          <a:p>
            <a:pPr algn="ctr" rtl="0"/>
            <a:r>
              <a:rPr lang="fr-fr" sz="1600" b="0" i="0" u="none" baseline="0">
                <a:cs typeface="Segoe UI Semibold"/>
              </a:rPr>
              <a:t>Identité</a:t>
            </a:r>
            <a:endParaRPr lang="fr-fr" sz="1600" b="0" i="0" u="none" baseline="0" dirty="0">
              <a:cs typeface="Segoe UI Semibold"/>
            </a:endParaRPr>
          </a:p>
        </p:txBody>
      </p:sp>
      <p:sp>
        <p:nvSpPr>
          <p:cNvPr id="170" name="Rectangle 169">
            <a:extLst>
              <a:ext uri="{FF2B5EF4-FFF2-40B4-BE49-F238E27FC236}">
                <a16:creationId xmlns:a16="http://schemas.microsoft.com/office/drawing/2014/main" id="{0EA39B23-3B08-4110-BA70-CC402F65B858}"/>
              </a:ext>
            </a:extLst>
          </p:cNvPr>
          <p:cNvSpPr/>
          <p:nvPr/>
        </p:nvSpPr>
        <p:spPr>
          <a:xfrm>
            <a:off x="416430" y="6722834"/>
            <a:ext cx="2118141" cy="492443"/>
          </a:xfrm>
          <a:prstGeom prst="rect">
            <a:avLst/>
          </a:prstGeom>
        </p:spPr>
        <p:txBody>
          <a:bodyPr wrap="square" lIns="0" tIns="0" rIns="0" bIns="0" anchor="t">
            <a:spAutoFit/>
          </a:bodyPr>
          <a:lstStyle/>
          <a:p>
            <a:pPr algn="ctr" rtl="0"/>
            <a:r>
              <a:rPr lang="fr-fr" sz="1600" b="0" i="0" u="none" baseline="0" dirty="0">
                <a:cs typeface="Segoe UI Semibold"/>
              </a:rPr>
              <a:t>Systèmes </a:t>
            </a:r>
            <a:br>
              <a:rPr lang="fr-fr" sz="1600" b="0" i="0" u="none" baseline="0" dirty="0">
                <a:cs typeface="Segoe UI Semibold" panose="020B0702040204020203" pitchFamily="34" charset="0"/>
              </a:rPr>
            </a:br>
            <a:r>
              <a:rPr lang="fr-fr" sz="1600" b="0" i="0" u="none" baseline="0" dirty="0">
                <a:cs typeface="Segoe UI Semibold"/>
              </a:rPr>
              <a:t>d</a:t>
            </a:r>
            <a:r>
              <a:rPr lang="fr-FR" sz="1600" b="0" i="0" u="none" baseline="0" dirty="0">
                <a:cs typeface="Segoe UI Semibold"/>
              </a:rPr>
              <a:t>’</a:t>
            </a:r>
            <a:r>
              <a:rPr lang="fr-fr" sz="1600" b="0" i="0" u="none" baseline="0" dirty="0">
                <a:cs typeface="Segoe UI Semibold"/>
              </a:rPr>
              <a:t>exploitation</a:t>
            </a:r>
          </a:p>
        </p:txBody>
      </p:sp>
      <p:sp>
        <p:nvSpPr>
          <p:cNvPr id="171" name="Rectangle 170">
            <a:extLst>
              <a:ext uri="{FF2B5EF4-FFF2-40B4-BE49-F238E27FC236}">
                <a16:creationId xmlns:a16="http://schemas.microsoft.com/office/drawing/2014/main" id="{CBBA8003-DD0E-4973-B5E2-202604892DF4}"/>
              </a:ext>
            </a:extLst>
          </p:cNvPr>
          <p:cNvSpPr/>
          <p:nvPr/>
        </p:nvSpPr>
        <p:spPr>
          <a:xfrm>
            <a:off x="5832163" y="4953643"/>
            <a:ext cx="1282729" cy="492443"/>
          </a:xfrm>
          <a:prstGeom prst="rect">
            <a:avLst/>
          </a:prstGeom>
        </p:spPr>
        <p:txBody>
          <a:bodyPr wrap="square" lIns="0" tIns="0" rIns="0" bIns="0" anchor="t">
            <a:spAutoFit/>
          </a:bodyPr>
          <a:lstStyle/>
          <a:p>
            <a:pPr algn="ctr" rtl="0"/>
            <a:r>
              <a:rPr lang="fr-fr" sz="1600" b="0" i="0" u="none" baseline="0" dirty="0">
                <a:cs typeface="Segoe UI Semibold"/>
              </a:rPr>
              <a:t>Plateformes d</a:t>
            </a:r>
            <a:r>
              <a:rPr lang="fr-FR" sz="1600" b="0" i="0" u="none" baseline="0" dirty="0">
                <a:cs typeface="Segoe UI Semibold"/>
              </a:rPr>
              <a:t>’</a:t>
            </a:r>
            <a:r>
              <a:rPr lang="fr-fr" sz="1600" b="0" i="0" u="none" baseline="0" dirty="0">
                <a:cs typeface="Segoe UI Semibold"/>
              </a:rPr>
              <a:t>application</a:t>
            </a:r>
          </a:p>
        </p:txBody>
      </p:sp>
      <p:sp>
        <p:nvSpPr>
          <p:cNvPr id="172" name="Rectangle 171">
            <a:extLst>
              <a:ext uri="{FF2B5EF4-FFF2-40B4-BE49-F238E27FC236}">
                <a16:creationId xmlns:a16="http://schemas.microsoft.com/office/drawing/2014/main" id="{6C0E1AC9-EA19-4211-B054-E5A76042BAA1}"/>
              </a:ext>
            </a:extLst>
          </p:cNvPr>
          <p:cNvSpPr/>
          <p:nvPr/>
        </p:nvSpPr>
        <p:spPr>
          <a:xfrm>
            <a:off x="5210222" y="7595400"/>
            <a:ext cx="1276659" cy="492443"/>
          </a:xfrm>
          <a:prstGeom prst="rect">
            <a:avLst/>
          </a:prstGeom>
        </p:spPr>
        <p:txBody>
          <a:bodyPr wrap="square" lIns="0" tIns="0" rIns="0" bIns="0" anchor="t">
            <a:spAutoFit/>
          </a:bodyPr>
          <a:lstStyle/>
          <a:p>
            <a:pPr algn="ctr" rtl="0"/>
            <a:r>
              <a:rPr lang="fr-fr" sz="1600" b="0" i="0" u="none" baseline="0" dirty="0">
                <a:cs typeface="Segoe UI Semibold"/>
              </a:rPr>
              <a:t>Plateforme </a:t>
            </a:r>
            <a:br>
              <a:rPr lang="fr-fr" sz="1600" b="0" i="0" u="none" baseline="0" dirty="0">
                <a:cs typeface="Segoe UI Semibold" panose="020B0702040204020203" pitchFamily="34" charset="0"/>
              </a:rPr>
            </a:br>
            <a:r>
              <a:rPr lang="fr-fr" sz="1600" b="0" i="0" u="none" baseline="0" dirty="0">
                <a:cs typeface="Segoe UI Semibold"/>
              </a:rPr>
              <a:t>de données</a:t>
            </a:r>
          </a:p>
        </p:txBody>
      </p:sp>
      <p:sp>
        <p:nvSpPr>
          <p:cNvPr id="173" name="Rectangle 172">
            <a:extLst>
              <a:ext uri="{FF2B5EF4-FFF2-40B4-BE49-F238E27FC236}">
                <a16:creationId xmlns:a16="http://schemas.microsoft.com/office/drawing/2014/main" id="{64937393-D565-4A49-9099-BD3DC7705A2B}"/>
              </a:ext>
            </a:extLst>
          </p:cNvPr>
          <p:cNvSpPr/>
          <p:nvPr/>
        </p:nvSpPr>
        <p:spPr>
          <a:xfrm>
            <a:off x="2142205" y="8159200"/>
            <a:ext cx="1593539" cy="492443"/>
          </a:xfrm>
          <a:prstGeom prst="rect">
            <a:avLst/>
          </a:prstGeom>
        </p:spPr>
        <p:txBody>
          <a:bodyPr wrap="square" lIns="0" tIns="0" rIns="0" bIns="0" anchor="t">
            <a:spAutoFit/>
          </a:bodyPr>
          <a:lstStyle/>
          <a:p>
            <a:pPr algn="ctr" rtl="0"/>
            <a:r>
              <a:rPr lang="fr-fr" sz="1600" b="0" i="0" u="none" baseline="0" dirty="0">
                <a:cs typeface="Segoe UI Semibold"/>
              </a:rPr>
              <a:t>Sécurité </a:t>
            </a:r>
            <a:br>
              <a:rPr lang="fr-fr" sz="1600" b="0" i="0" u="none" baseline="0" dirty="0">
                <a:cs typeface="Segoe UI Semibold" panose="020B0702040204020203" pitchFamily="34" charset="0"/>
              </a:rPr>
            </a:br>
            <a:r>
              <a:rPr lang="fr-fr" sz="1600" b="0" i="0" u="none" baseline="0" dirty="0">
                <a:cs typeface="Segoe UI Semibold"/>
              </a:rPr>
              <a:t>et gestion</a:t>
            </a:r>
          </a:p>
        </p:txBody>
      </p:sp>
      <p:pic>
        <p:nvPicPr>
          <p:cNvPr id="174" name="Graphic 173">
            <a:extLst>
              <a:ext uri="{FF2B5EF4-FFF2-40B4-BE49-F238E27FC236}">
                <a16:creationId xmlns:a16="http://schemas.microsoft.com/office/drawing/2014/main" id="{4FB3DAAA-4E07-4AEB-B347-0B026C72869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28155" y="7102753"/>
            <a:ext cx="440796" cy="431800"/>
          </a:xfrm>
          <a:prstGeom prst="rect">
            <a:avLst/>
          </a:prstGeom>
        </p:spPr>
      </p:pic>
      <p:grpSp>
        <p:nvGrpSpPr>
          <p:cNvPr id="175" name="Group 174" descr="custom code, bracket">
            <a:extLst>
              <a:ext uri="{FF2B5EF4-FFF2-40B4-BE49-F238E27FC236}">
                <a16:creationId xmlns:a16="http://schemas.microsoft.com/office/drawing/2014/main" id="{E576C1A4-E2FC-4FC8-8EA5-C28CCE1B0A81}"/>
              </a:ext>
            </a:extLst>
          </p:cNvPr>
          <p:cNvGrpSpPr/>
          <p:nvPr/>
        </p:nvGrpSpPr>
        <p:grpSpPr>
          <a:xfrm>
            <a:off x="1158694" y="6182292"/>
            <a:ext cx="633601" cy="448445"/>
            <a:chOff x="606956" y="4862348"/>
            <a:chExt cx="580498" cy="410861"/>
          </a:xfrm>
        </p:grpSpPr>
        <p:sp>
          <p:nvSpPr>
            <p:cNvPr id="176" name="Freeform 63">
              <a:extLst>
                <a:ext uri="{FF2B5EF4-FFF2-40B4-BE49-F238E27FC236}">
                  <a16:creationId xmlns:a16="http://schemas.microsoft.com/office/drawing/2014/main" id="{CCF9F117-4C60-4CFB-B2A5-0A4D4F7F8BB3}"/>
                </a:ext>
              </a:extLst>
            </p:cNvPr>
            <p:cNvSpPr>
              <a:spLocks/>
            </p:cNvSpPr>
            <p:nvPr/>
          </p:nvSpPr>
          <p:spPr bwMode="auto">
            <a:xfrm>
              <a:off x="606956" y="4862348"/>
              <a:ext cx="105828" cy="410861"/>
            </a:xfrm>
            <a:custGeom>
              <a:avLst/>
              <a:gdLst>
                <a:gd name="T0" fmla="*/ 91 w 91"/>
                <a:gd name="T1" fmla="*/ 355 h 355"/>
                <a:gd name="T2" fmla="*/ 59 w 91"/>
                <a:gd name="T3" fmla="*/ 352 h 355"/>
                <a:gd name="T4" fmla="*/ 58 w 91"/>
                <a:gd name="T5" fmla="*/ 352 h 355"/>
                <a:gd name="T6" fmla="*/ 43 w 91"/>
                <a:gd name="T7" fmla="*/ 341 h 355"/>
                <a:gd name="T8" fmla="*/ 34 w 91"/>
                <a:gd name="T9" fmla="*/ 298 h 355"/>
                <a:gd name="T10" fmla="*/ 34 w 91"/>
                <a:gd name="T11" fmla="*/ 230 h 355"/>
                <a:gd name="T12" fmla="*/ 26 w 91"/>
                <a:gd name="T13" fmla="*/ 196 h 355"/>
                <a:gd name="T14" fmla="*/ 5 w 91"/>
                <a:gd name="T15" fmla="*/ 183 h 355"/>
                <a:gd name="T16" fmla="*/ 0 w 91"/>
                <a:gd name="T17" fmla="*/ 183 h 355"/>
                <a:gd name="T18" fmla="*/ 0 w 91"/>
                <a:gd name="T19" fmla="*/ 170 h 355"/>
                <a:gd name="T20" fmla="*/ 5 w 91"/>
                <a:gd name="T21" fmla="*/ 170 h 355"/>
                <a:gd name="T22" fmla="*/ 26 w 91"/>
                <a:gd name="T23" fmla="*/ 156 h 355"/>
                <a:gd name="T24" fmla="*/ 34 w 91"/>
                <a:gd name="T25" fmla="*/ 122 h 355"/>
                <a:gd name="T26" fmla="*/ 34 w 91"/>
                <a:gd name="T27" fmla="*/ 51 h 355"/>
                <a:gd name="T28" fmla="*/ 42 w 91"/>
                <a:gd name="T29" fmla="*/ 14 h 355"/>
                <a:gd name="T30" fmla="*/ 58 w 91"/>
                <a:gd name="T31" fmla="*/ 2 h 355"/>
                <a:gd name="T32" fmla="*/ 90 w 91"/>
                <a:gd name="T33" fmla="*/ 0 h 355"/>
                <a:gd name="T34" fmla="*/ 90 w 91"/>
                <a:gd name="T35" fmla="*/ 10 h 355"/>
                <a:gd name="T36" fmla="*/ 60 w 91"/>
                <a:gd name="T37" fmla="*/ 11 h 355"/>
                <a:gd name="T38" fmla="*/ 50 w 91"/>
                <a:gd name="T39" fmla="*/ 19 h 355"/>
                <a:gd name="T40" fmla="*/ 44 w 91"/>
                <a:gd name="T41" fmla="*/ 51 h 355"/>
                <a:gd name="T42" fmla="*/ 44 w 91"/>
                <a:gd name="T43" fmla="*/ 122 h 355"/>
                <a:gd name="T44" fmla="*/ 35 w 91"/>
                <a:gd name="T45" fmla="*/ 161 h 355"/>
                <a:gd name="T46" fmla="*/ 20 w 91"/>
                <a:gd name="T47" fmla="*/ 176 h 355"/>
                <a:gd name="T48" fmla="*/ 35 w 91"/>
                <a:gd name="T49" fmla="*/ 192 h 355"/>
                <a:gd name="T50" fmla="*/ 44 w 91"/>
                <a:gd name="T51" fmla="*/ 230 h 355"/>
                <a:gd name="T52" fmla="*/ 44 w 91"/>
                <a:gd name="T53" fmla="*/ 298 h 355"/>
                <a:gd name="T54" fmla="*/ 51 w 91"/>
                <a:gd name="T55" fmla="*/ 336 h 355"/>
                <a:gd name="T56" fmla="*/ 59 w 91"/>
                <a:gd name="T57" fmla="*/ 342 h 355"/>
                <a:gd name="T58" fmla="*/ 60 w 91"/>
                <a:gd name="T59" fmla="*/ 342 h 355"/>
                <a:gd name="T60" fmla="*/ 90 w 91"/>
                <a:gd name="T61" fmla="*/ 344 h 355"/>
                <a:gd name="T62" fmla="*/ 90 w 91"/>
                <a:gd name="T63" fmla="*/ 355 h 355"/>
                <a:gd name="T64" fmla="*/ 91 w 91"/>
                <a:gd name="T65"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355">
                  <a:moveTo>
                    <a:pt x="91" y="355"/>
                  </a:moveTo>
                  <a:cubicBezTo>
                    <a:pt x="77" y="355"/>
                    <a:pt x="66" y="354"/>
                    <a:pt x="59" y="352"/>
                  </a:cubicBezTo>
                  <a:cubicBezTo>
                    <a:pt x="58" y="352"/>
                    <a:pt x="58" y="352"/>
                    <a:pt x="58" y="352"/>
                  </a:cubicBezTo>
                  <a:cubicBezTo>
                    <a:pt x="51" y="351"/>
                    <a:pt x="48" y="350"/>
                    <a:pt x="43" y="341"/>
                  </a:cubicBezTo>
                  <a:cubicBezTo>
                    <a:pt x="37" y="332"/>
                    <a:pt x="34" y="318"/>
                    <a:pt x="34" y="298"/>
                  </a:cubicBezTo>
                  <a:cubicBezTo>
                    <a:pt x="34" y="230"/>
                    <a:pt x="34" y="230"/>
                    <a:pt x="34" y="230"/>
                  </a:cubicBezTo>
                  <a:cubicBezTo>
                    <a:pt x="34" y="218"/>
                    <a:pt x="32" y="206"/>
                    <a:pt x="26" y="196"/>
                  </a:cubicBezTo>
                  <a:cubicBezTo>
                    <a:pt x="22" y="188"/>
                    <a:pt x="14" y="183"/>
                    <a:pt x="5" y="183"/>
                  </a:cubicBezTo>
                  <a:cubicBezTo>
                    <a:pt x="0" y="183"/>
                    <a:pt x="0" y="183"/>
                    <a:pt x="0" y="183"/>
                  </a:cubicBezTo>
                  <a:cubicBezTo>
                    <a:pt x="0" y="170"/>
                    <a:pt x="0" y="170"/>
                    <a:pt x="0" y="170"/>
                  </a:cubicBezTo>
                  <a:cubicBezTo>
                    <a:pt x="5" y="170"/>
                    <a:pt x="5" y="170"/>
                    <a:pt x="5" y="170"/>
                  </a:cubicBezTo>
                  <a:cubicBezTo>
                    <a:pt x="14" y="170"/>
                    <a:pt x="22" y="165"/>
                    <a:pt x="26" y="156"/>
                  </a:cubicBezTo>
                  <a:cubicBezTo>
                    <a:pt x="32" y="147"/>
                    <a:pt x="34" y="135"/>
                    <a:pt x="34" y="122"/>
                  </a:cubicBezTo>
                  <a:cubicBezTo>
                    <a:pt x="34" y="51"/>
                    <a:pt x="34" y="51"/>
                    <a:pt x="34" y="51"/>
                  </a:cubicBezTo>
                  <a:cubicBezTo>
                    <a:pt x="34" y="33"/>
                    <a:pt x="37" y="21"/>
                    <a:pt x="42" y="14"/>
                  </a:cubicBezTo>
                  <a:cubicBezTo>
                    <a:pt x="47" y="6"/>
                    <a:pt x="50" y="3"/>
                    <a:pt x="58" y="2"/>
                  </a:cubicBezTo>
                  <a:cubicBezTo>
                    <a:pt x="66" y="0"/>
                    <a:pt x="75" y="0"/>
                    <a:pt x="90" y="0"/>
                  </a:cubicBezTo>
                  <a:cubicBezTo>
                    <a:pt x="90" y="10"/>
                    <a:pt x="90" y="10"/>
                    <a:pt x="90" y="10"/>
                  </a:cubicBezTo>
                  <a:cubicBezTo>
                    <a:pt x="76" y="10"/>
                    <a:pt x="66" y="10"/>
                    <a:pt x="60" y="11"/>
                  </a:cubicBezTo>
                  <a:cubicBezTo>
                    <a:pt x="55" y="12"/>
                    <a:pt x="54" y="12"/>
                    <a:pt x="50" y="19"/>
                  </a:cubicBezTo>
                  <a:cubicBezTo>
                    <a:pt x="46" y="25"/>
                    <a:pt x="44" y="35"/>
                    <a:pt x="44" y="51"/>
                  </a:cubicBezTo>
                  <a:cubicBezTo>
                    <a:pt x="44" y="122"/>
                    <a:pt x="44" y="122"/>
                    <a:pt x="44" y="122"/>
                  </a:cubicBezTo>
                  <a:cubicBezTo>
                    <a:pt x="44" y="137"/>
                    <a:pt x="41" y="150"/>
                    <a:pt x="35" y="161"/>
                  </a:cubicBezTo>
                  <a:cubicBezTo>
                    <a:pt x="31" y="168"/>
                    <a:pt x="26" y="173"/>
                    <a:pt x="20" y="176"/>
                  </a:cubicBezTo>
                  <a:cubicBezTo>
                    <a:pt x="26" y="180"/>
                    <a:pt x="31" y="184"/>
                    <a:pt x="35" y="192"/>
                  </a:cubicBezTo>
                  <a:cubicBezTo>
                    <a:pt x="41" y="203"/>
                    <a:pt x="44" y="216"/>
                    <a:pt x="44" y="230"/>
                  </a:cubicBezTo>
                  <a:cubicBezTo>
                    <a:pt x="44" y="298"/>
                    <a:pt x="44" y="298"/>
                    <a:pt x="44" y="298"/>
                  </a:cubicBezTo>
                  <a:cubicBezTo>
                    <a:pt x="44" y="316"/>
                    <a:pt x="46" y="328"/>
                    <a:pt x="51" y="336"/>
                  </a:cubicBezTo>
                  <a:cubicBezTo>
                    <a:pt x="54" y="341"/>
                    <a:pt x="54" y="341"/>
                    <a:pt x="59" y="342"/>
                  </a:cubicBezTo>
                  <a:cubicBezTo>
                    <a:pt x="60" y="342"/>
                    <a:pt x="60" y="342"/>
                    <a:pt x="60" y="342"/>
                  </a:cubicBezTo>
                  <a:cubicBezTo>
                    <a:pt x="67" y="344"/>
                    <a:pt x="77" y="344"/>
                    <a:pt x="90" y="344"/>
                  </a:cubicBezTo>
                  <a:cubicBezTo>
                    <a:pt x="90" y="355"/>
                    <a:pt x="90" y="355"/>
                    <a:pt x="90" y="355"/>
                  </a:cubicBezTo>
                  <a:lnTo>
                    <a:pt x="91" y="355"/>
                  </a:lnTo>
                  <a:close/>
                </a:path>
              </a:pathLst>
            </a:custGeom>
            <a:solidFill>
              <a:srgbClr val="4FE4FF"/>
            </a:solidFill>
            <a:ln w="9525">
              <a:solidFill>
                <a:srgbClr val="4FE4FF"/>
              </a:solidFill>
              <a:round/>
              <a:headEnd/>
              <a:tailEnd/>
            </a:ln>
          </p:spPr>
          <p:txBody>
            <a:bodyPr vert="horz" wrap="square" lIns="84662" tIns="42331" rIns="84662" bIns="42331" numCol="1" anchor="t" anchorCtr="0" compatLnSpc="1">
              <a:prstTxWarp prst="textNoShape">
                <a:avLst/>
              </a:prstTxWarp>
            </a:bodyPr>
            <a:lstStyle/>
            <a:p>
              <a:pPr algn="ctr" defTabSz="846569" rtl="0" fontAlgn="base"/>
              <a:endParaRPr lang="fr-fr" sz="1550" dirty="0">
                <a:solidFill>
                  <a:srgbClr val="505050"/>
                </a:solidFill>
                <a:latin typeface="Segoe UI"/>
                <a:cs typeface="Segoe UI"/>
              </a:endParaRPr>
            </a:p>
          </p:txBody>
        </p:sp>
        <p:sp>
          <p:nvSpPr>
            <p:cNvPr id="177" name="Freeform 64">
              <a:extLst>
                <a:ext uri="{FF2B5EF4-FFF2-40B4-BE49-F238E27FC236}">
                  <a16:creationId xmlns:a16="http://schemas.microsoft.com/office/drawing/2014/main" id="{E97FFB52-DC6F-474B-8790-E982B2E2F2A5}"/>
                </a:ext>
              </a:extLst>
            </p:cNvPr>
            <p:cNvSpPr>
              <a:spLocks/>
            </p:cNvSpPr>
            <p:nvPr/>
          </p:nvSpPr>
          <p:spPr bwMode="auto">
            <a:xfrm>
              <a:off x="1083182" y="4862348"/>
              <a:ext cx="104272" cy="410861"/>
            </a:xfrm>
            <a:custGeom>
              <a:avLst/>
              <a:gdLst>
                <a:gd name="T0" fmla="*/ 0 w 91"/>
                <a:gd name="T1" fmla="*/ 355 h 355"/>
                <a:gd name="T2" fmla="*/ 0 w 91"/>
                <a:gd name="T3" fmla="*/ 345 h 355"/>
                <a:gd name="T4" fmla="*/ 31 w 91"/>
                <a:gd name="T5" fmla="*/ 344 h 355"/>
                <a:gd name="T6" fmla="*/ 41 w 91"/>
                <a:gd name="T7" fmla="*/ 336 h 355"/>
                <a:gd name="T8" fmla="*/ 47 w 91"/>
                <a:gd name="T9" fmla="*/ 304 h 355"/>
                <a:gd name="T10" fmla="*/ 47 w 91"/>
                <a:gd name="T11" fmla="*/ 232 h 355"/>
                <a:gd name="T12" fmla="*/ 56 w 91"/>
                <a:gd name="T13" fmla="*/ 193 h 355"/>
                <a:gd name="T14" fmla="*/ 71 w 91"/>
                <a:gd name="T15" fmla="*/ 178 h 355"/>
                <a:gd name="T16" fmla="*/ 56 w 91"/>
                <a:gd name="T17" fmla="*/ 163 h 355"/>
                <a:gd name="T18" fmla="*/ 47 w 91"/>
                <a:gd name="T19" fmla="*/ 124 h 355"/>
                <a:gd name="T20" fmla="*/ 47 w 91"/>
                <a:gd name="T21" fmla="*/ 56 h 355"/>
                <a:gd name="T22" fmla="*/ 40 w 91"/>
                <a:gd name="T23" fmla="*/ 19 h 355"/>
                <a:gd name="T24" fmla="*/ 32 w 91"/>
                <a:gd name="T25" fmla="*/ 12 h 355"/>
                <a:gd name="T26" fmla="*/ 30 w 91"/>
                <a:gd name="T27" fmla="*/ 12 h 355"/>
                <a:gd name="T28" fmla="*/ 0 w 91"/>
                <a:gd name="T29" fmla="*/ 10 h 355"/>
                <a:gd name="T30" fmla="*/ 0 w 91"/>
                <a:gd name="T31" fmla="*/ 0 h 355"/>
                <a:gd name="T32" fmla="*/ 32 w 91"/>
                <a:gd name="T33" fmla="*/ 2 h 355"/>
                <a:gd name="T34" fmla="*/ 34 w 91"/>
                <a:gd name="T35" fmla="*/ 3 h 355"/>
                <a:gd name="T36" fmla="*/ 48 w 91"/>
                <a:gd name="T37" fmla="*/ 14 h 355"/>
                <a:gd name="T38" fmla="*/ 57 w 91"/>
                <a:gd name="T39" fmla="*/ 56 h 355"/>
                <a:gd name="T40" fmla="*/ 57 w 91"/>
                <a:gd name="T41" fmla="*/ 124 h 355"/>
                <a:gd name="T42" fmla="*/ 65 w 91"/>
                <a:gd name="T43" fmla="*/ 158 h 355"/>
                <a:gd name="T44" fmla="*/ 86 w 91"/>
                <a:gd name="T45" fmla="*/ 172 h 355"/>
                <a:gd name="T46" fmla="*/ 91 w 91"/>
                <a:gd name="T47" fmla="*/ 172 h 355"/>
                <a:gd name="T48" fmla="*/ 91 w 91"/>
                <a:gd name="T49" fmla="*/ 185 h 355"/>
                <a:gd name="T50" fmla="*/ 86 w 91"/>
                <a:gd name="T51" fmla="*/ 185 h 355"/>
                <a:gd name="T52" fmla="*/ 65 w 91"/>
                <a:gd name="T53" fmla="*/ 198 h 355"/>
                <a:gd name="T54" fmla="*/ 57 w 91"/>
                <a:gd name="T55" fmla="*/ 233 h 355"/>
                <a:gd name="T56" fmla="*/ 57 w 91"/>
                <a:gd name="T57" fmla="*/ 304 h 355"/>
                <a:gd name="T58" fmla="*/ 49 w 91"/>
                <a:gd name="T59" fmla="*/ 342 h 355"/>
                <a:gd name="T60" fmla="*/ 33 w 91"/>
                <a:gd name="T61" fmla="*/ 354 h 355"/>
                <a:gd name="T62" fmla="*/ 0 w 91"/>
                <a:gd name="T6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355">
                  <a:moveTo>
                    <a:pt x="0" y="355"/>
                  </a:moveTo>
                  <a:cubicBezTo>
                    <a:pt x="0" y="345"/>
                    <a:pt x="0" y="345"/>
                    <a:pt x="0" y="345"/>
                  </a:cubicBezTo>
                  <a:cubicBezTo>
                    <a:pt x="15" y="345"/>
                    <a:pt x="24" y="344"/>
                    <a:pt x="31" y="344"/>
                  </a:cubicBezTo>
                  <a:cubicBezTo>
                    <a:pt x="36" y="342"/>
                    <a:pt x="36" y="342"/>
                    <a:pt x="41" y="336"/>
                  </a:cubicBezTo>
                  <a:cubicBezTo>
                    <a:pt x="45" y="330"/>
                    <a:pt x="47" y="320"/>
                    <a:pt x="47" y="304"/>
                  </a:cubicBezTo>
                  <a:cubicBezTo>
                    <a:pt x="47" y="232"/>
                    <a:pt x="47" y="232"/>
                    <a:pt x="47" y="232"/>
                  </a:cubicBezTo>
                  <a:cubicBezTo>
                    <a:pt x="47" y="218"/>
                    <a:pt x="50" y="204"/>
                    <a:pt x="56" y="193"/>
                  </a:cubicBezTo>
                  <a:cubicBezTo>
                    <a:pt x="60" y="186"/>
                    <a:pt x="65" y="181"/>
                    <a:pt x="71" y="178"/>
                  </a:cubicBezTo>
                  <a:cubicBezTo>
                    <a:pt x="65" y="175"/>
                    <a:pt x="60" y="170"/>
                    <a:pt x="56" y="163"/>
                  </a:cubicBezTo>
                  <a:cubicBezTo>
                    <a:pt x="50" y="152"/>
                    <a:pt x="47" y="138"/>
                    <a:pt x="47" y="124"/>
                  </a:cubicBezTo>
                  <a:cubicBezTo>
                    <a:pt x="47" y="56"/>
                    <a:pt x="47" y="56"/>
                    <a:pt x="47" y="56"/>
                  </a:cubicBezTo>
                  <a:cubicBezTo>
                    <a:pt x="47" y="38"/>
                    <a:pt x="44" y="26"/>
                    <a:pt x="40" y="19"/>
                  </a:cubicBezTo>
                  <a:cubicBezTo>
                    <a:pt x="37" y="13"/>
                    <a:pt x="36" y="13"/>
                    <a:pt x="32" y="12"/>
                  </a:cubicBezTo>
                  <a:cubicBezTo>
                    <a:pt x="30" y="12"/>
                    <a:pt x="30" y="12"/>
                    <a:pt x="30" y="12"/>
                  </a:cubicBezTo>
                  <a:cubicBezTo>
                    <a:pt x="24" y="11"/>
                    <a:pt x="14" y="10"/>
                    <a:pt x="0" y="10"/>
                  </a:cubicBezTo>
                  <a:cubicBezTo>
                    <a:pt x="0" y="0"/>
                    <a:pt x="0" y="0"/>
                    <a:pt x="0" y="0"/>
                  </a:cubicBezTo>
                  <a:cubicBezTo>
                    <a:pt x="14" y="0"/>
                    <a:pt x="25" y="1"/>
                    <a:pt x="32" y="2"/>
                  </a:cubicBezTo>
                  <a:cubicBezTo>
                    <a:pt x="34" y="3"/>
                    <a:pt x="34" y="3"/>
                    <a:pt x="34" y="3"/>
                  </a:cubicBezTo>
                  <a:cubicBezTo>
                    <a:pt x="40" y="4"/>
                    <a:pt x="43" y="5"/>
                    <a:pt x="48" y="14"/>
                  </a:cubicBezTo>
                  <a:cubicBezTo>
                    <a:pt x="54" y="23"/>
                    <a:pt x="57" y="37"/>
                    <a:pt x="57" y="56"/>
                  </a:cubicBezTo>
                  <a:cubicBezTo>
                    <a:pt x="57" y="124"/>
                    <a:pt x="57" y="124"/>
                    <a:pt x="57" y="124"/>
                  </a:cubicBezTo>
                  <a:cubicBezTo>
                    <a:pt x="57" y="137"/>
                    <a:pt x="60" y="148"/>
                    <a:pt x="65" y="158"/>
                  </a:cubicBezTo>
                  <a:cubicBezTo>
                    <a:pt x="70" y="167"/>
                    <a:pt x="77" y="172"/>
                    <a:pt x="86" y="172"/>
                  </a:cubicBezTo>
                  <a:cubicBezTo>
                    <a:pt x="91" y="172"/>
                    <a:pt x="91" y="172"/>
                    <a:pt x="91" y="172"/>
                  </a:cubicBezTo>
                  <a:cubicBezTo>
                    <a:pt x="91" y="185"/>
                    <a:pt x="91" y="185"/>
                    <a:pt x="91" y="185"/>
                  </a:cubicBezTo>
                  <a:cubicBezTo>
                    <a:pt x="86" y="185"/>
                    <a:pt x="86" y="185"/>
                    <a:pt x="86" y="185"/>
                  </a:cubicBezTo>
                  <a:cubicBezTo>
                    <a:pt x="77" y="185"/>
                    <a:pt x="70" y="190"/>
                    <a:pt x="65" y="198"/>
                  </a:cubicBezTo>
                  <a:cubicBezTo>
                    <a:pt x="60" y="208"/>
                    <a:pt x="57" y="220"/>
                    <a:pt x="57" y="233"/>
                  </a:cubicBezTo>
                  <a:cubicBezTo>
                    <a:pt x="57" y="304"/>
                    <a:pt x="57" y="304"/>
                    <a:pt x="57" y="304"/>
                  </a:cubicBezTo>
                  <a:cubicBezTo>
                    <a:pt x="57" y="322"/>
                    <a:pt x="54" y="334"/>
                    <a:pt x="49" y="342"/>
                  </a:cubicBezTo>
                  <a:cubicBezTo>
                    <a:pt x="44" y="350"/>
                    <a:pt x="41" y="352"/>
                    <a:pt x="33" y="354"/>
                  </a:cubicBezTo>
                  <a:cubicBezTo>
                    <a:pt x="25" y="354"/>
                    <a:pt x="16" y="355"/>
                    <a:pt x="0" y="355"/>
                  </a:cubicBezTo>
                  <a:close/>
                </a:path>
              </a:pathLst>
            </a:custGeom>
            <a:solidFill>
              <a:srgbClr val="4FE4FF"/>
            </a:solidFill>
            <a:ln w="9525">
              <a:solidFill>
                <a:srgbClr val="4FE4FF"/>
              </a:solidFill>
              <a:round/>
              <a:headEnd/>
              <a:tailEnd/>
            </a:ln>
          </p:spPr>
          <p:txBody>
            <a:bodyPr vert="horz" wrap="square" lIns="84662" tIns="42331" rIns="84662" bIns="42331" numCol="1" anchor="t" anchorCtr="0" compatLnSpc="1">
              <a:prstTxWarp prst="textNoShape">
                <a:avLst/>
              </a:prstTxWarp>
            </a:bodyPr>
            <a:lstStyle/>
            <a:p>
              <a:pPr algn="ctr" defTabSz="846569" rtl="0" fontAlgn="base"/>
              <a:endParaRPr lang="fr-fr" sz="1550" dirty="0">
                <a:solidFill>
                  <a:srgbClr val="505050"/>
                </a:solidFill>
                <a:latin typeface="Segoe UI"/>
                <a:cs typeface="Segoe UI"/>
              </a:endParaRPr>
            </a:p>
          </p:txBody>
        </p:sp>
        <p:sp>
          <p:nvSpPr>
            <p:cNvPr id="178" name="Freeform 65">
              <a:extLst>
                <a:ext uri="{FF2B5EF4-FFF2-40B4-BE49-F238E27FC236}">
                  <a16:creationId xmlns:a16="http://schemas.microsoft.com/office/drawing/2014/main" id="{979E5EF0-B342-4CC4-8A67-4579B4EF8A87}"/>
                </a:ext>
              </a:extLst>
            </p:cNvPr>
            <p:cNvSpPr>
              <a:spLocks noEditPoints="1"/>
            </p:cNvSpPr>
            <p:nvPr/>
          </p:nvSpPr>
          <p:spPr bwMode="auto">
            <a:xfrm>
              <a:off x="745466" y="4915262"/>
              <a:ext cx="303478" cy="303477"/>
            </a:xfrm>
            <a:custGeom>
              <a:avLst/>
              <a:gdLst>
                <a:gd name="T0" fmla="*/ 79 w 263"/>
                <a:gd name="T1" fmla="*/ 132 h 262"/>
                <a:gd name="T2" fmla="*/ 184 w 263"/>
                <a:gd name="T3" fmla="*/ 132 h 262"/>
                <a:gd name="T4" fmla="*/ 257 w 263"/>
                <a:gd name="T5" fmla="*/ 111 h 262"/>
                <a:gd name="T6" fmla="*/ 219 w 263"/>
                <a:gd name="T7" fmla="*/ 105 h 262"/>
                <a:gd name="T8" fmla="*/ 213 w 263"/>
                <a:gd name="T9" fmla="*/ 82 h 262"/>
                <a:gd name="T10" fmla="*/ 235 w 263"/>
                <a:gd name="T11" fmla="*/ 49 h 262"/>
                <a:gd name="T12" fmla="*/ 206 w 263"/>
                <a:gd name="T13" fmla="*/ 28 h 262"/>
                <a:gd name="T14" fmla="*/ 175 w 263"/>
                <a:gd name="T15" fmla="*/ 51 h 262"/>
                <a:gd name="T16" fmla="*/ 154 w 263"/>
                <a:gd name="T17" fmla="*/ 39 h 262"/>
                <a:gd name="T18" fmla="*/ 146 w 263"/>
                <a:gd name="T19" fmla="*/ 0 h 262"/>
                <a:gd name="T20" fmla="*/ 111 w 263"/>
                <a:gd name="T21" fmla="*/ 6 h 262"/>
                <a:gd name="T22" fmla="*/ 105 w 263"/>
                <a:gd name="T23" fmla="*/ 44 h 262"/>
                <a:gd name="T24" fmla="*/ 82 w 263"/>
                <a:gd name="T25" fmla="*/ 50 h 262"/>
                <a:gd name="T26" fmla="*/ 49 w 263"/>
                <a:gd name="T27" fmla="*/ 28 h 262"/>
                <a:gd name="T28" fmla="*/ 28 w 263"/>
                <a:gd name="T29" fmla="*/ 57 h 262"/>
                <a:gd name="T30" fmla="*/ 51 w 263"/>
                <a:gd name="T31" fmla="*/ 88 h 262"/>
                <a:gd name="T32" fmla="*/ 39 w 263"/>
                <a:gd name="T33" fmla="*/ 108 h 262"/>
                <a:gd name="T34" fmla="*/ 0 w 263"/>
                <a:gd name="T35" fmla="*/ 116 h 262"/>
                <a:gd name="T36" fmla="*/ 6 w 263"/>
                <a:gd name="T37" fmla="*/ 152 h 262"/>
                <a:gd name="T38" fmla="*/ 44 w 263"/>
                <a:gd name="T39" fmla="*/ 158 h 262"/>
                <a:gd name="T40" fmla="*/ 50 w 263"/>
                <a:gd name="T41" fmla="*/ 181 h 262"/>
                <a:gd name="T42" fmla="*/ 28 w 263"/>
                <a:gd name="T43" fmla="*/ 214 h 262"/>
                <a:gd name="T44" fmla="*/ 57 w 263"/>
                <a:gd name="T45" fmla="*/ 235 h 262"/>
                <a:gd name="T46" fmla="*/ 88 w 263"/>
                <a:gd name="T47" fmla="*/ 212 h 262"/>
                <a:gd name="T48" fmla="*/ 108 w 263"/>
                <a:gd name="T49" fmla="*/ 223 h 262"/>
                <a:gd name="T50" fmla="*/ 116 w 263"/>
                <a:gd name="T51" fmla="*/ 262 h 262"/>
                <a:gd name="T52" fmla="*/ 152 w 263"/>
                <a:gd name="T53" fmla="*/ 257 h 262"/>
                <a:gd name="T54" fmla="*/ 157 w 263"/>
                <a:gd name="T55" fmla="*/ 219 h 262"/>
                <a:gd name="T56" fmla="*/ 180 w 263"/>
                <a:gd name="T57" fmla="*/ 212 h 262"/>
                <a:gd name="T58" fmla="*/ 213 w 263"/>
                <a:gd name="T59" fmla="*/ 234 h 262"/>
                <a:gd name="T60" fmla="*/ 234 w 263"/>
                <a:gd name="T61" fmla="*/ 206 h 262"/>
                <a:gd name="T62" fmla="*/ 211 w 263"/>
                <a:gd name="T63" fmla="*/ 175 h 262"/>
                <a:gd name="T64" fmla="*/ 222 w 263"/>
                <a:gd name="T65" fmla="*/ 154 h 262"/>
                <a:gd name="T66" fmla="*/ 262 w 263"/>
                <a:gd name="T67" fmla="*/ 146 h 262"/>
                <a:gd name="T68" fmla="*/ 257 w 263"/>
                <a:gd name="T69" fmla="*/ 11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3" h="262">
                  <a:moveTo>
                    <a:pt x="132" y="184"/>
                  </a:moveTo>
                  <a:cubicBezTo>
                    <a:pt x="102" y="184"/>
                    <a:pt x="79" y="161"/>
                    <a:pt x="79" y="132"/>
                  </a:cubicBezTo>
                  <a:cubicBezTo>
                    <a:pt x="79" y="102"/>
                    <a:pt x="102" y="79"/>
                    <a:pt x="132" y="79"/>
                  </a:cubicBezTo>
                  <a:cubicBezTo>
                    <a:pt x="161" y="79"/>
                    <a:pt x="184" y="102"/>
                    <a:pt x="184" y="132"/>
                  </a:cubicBezTo>
                  <a:cubicBezTo>
                    <a:pt x="184" y="161"/>
                    <a:pt x="161" y="184"/>
                    <a:pt x="132" y="184"/>
                  </a:cubicBezTo>
                  <a:close/>
                  <a:moveTo>
                    <a:pt x="257" y="111"/>
                  </a:moveTo>
                  <a:cubicBezTo>
                    <a:pt x="224" y="109"/>
                    <a:pt x="224" y="109"/>
                    <a:pt x="224" y="109"/>
                  </a:cubicBezTo>
                  <a:cubicBezTo>
                    <a:pt x="222" y="109"/>
                    <a:pt x="220" y="107"/>
                    <a:pt x="219" y="105"/>
                  </a:cubicBezTo>
                  <a:cubicBezTo>
                    <a:pt x="218" y="99"/>
                    <a:pt x="215" y="94"/>
                    <a:pt x="212" y="88"/>
                  </a:cubicBezTo>
                  <a:cubicBezTo>
                    <a:pt x="211" y="86"/>
                    <a:pt x="211" y="84"/>
                    <a:pt x="213" y="82"/>
                  </a:cubicBezTo>
                  <a:cubicBezTo>
                    <a:pt x="235" y="57"/>
                    <a:pt x="235" y="57"/>
                    <a:pt x="235" y="57"/>
                  </a:cubicBezTo>
                  <a:cubicBezTo>
                    <a:pt x="237" y="55"/>
                    <a:pt x="237" y="51"/>
                    <a:pt x="235" y="49"/>
                  </a:cubicBezTo>
                  <a:cubicBezTo>
                    <a:pt x="214" y="29"/>
                    <a:pt x="214" y="29"/>
                    <a:pt x="214" y="29"/>
                  </a:cubicBezTo>
                  <a:cubicBezTo>
                    <a:pt x="212" y="26"/>
                    <a:pt x="209" y="26"/>
                    <a:pt x="206" y="28"/>
                  </a:cubicBezTo>
                  <a:cubicBezTo>
                    <a:pt x="181" y="50"/>
                    <a:pt x="181" y="50"/>
                    <a:pt x="181" y="50"/>
                  </a:cubicBezTo>
                  <a:cubicBezTo>
                    <a:pt x="179" y="52"/>
                    <a:pt x="177" y="52"/>
                    <a:pt x="175" y="51"/>
                  </a:cubicBezTo>
                  <a:cubicBezTo>
                    <a:pt x="169" y="48"/>
                    <a:pt x="164" y="46"/>
                    <a:pt x="158" y="44"/>
                  </a:cubicBezTo>
                  <a:cubicBezTo>
                    <a:pt x="156" y="43"/>
                    <a:pt x="154" y="41"/>
                    <a:pt x="154" y="39"/>
                  </a:cubicBezTo>
                  <a:cubicBezTo>
                    <a:pt x="152" y="6"/>
                    <a:pt x="152" y="6"/>
                    <a:pt x="152" y="6"/>
                  </a:cubicBezTo>
                  <a:cubicBezTo>
                    <a:pt x="152" y="2"/>
                    <a:pt x="149" y="0"/>
                    <a:pt x="146" y="0"/>
                  </a:cubicBezTo>
                  <a:cubicBezTo>
                    <a:pt x="117" y="0"/>
                    <a:pt x="117" y="0"/>
                    <a:pt x="117" y="0"/>
                  </a:cubicBezTo>
                  <a:cubicBezTo>
                    <a:pt x="114" y="0"/>
                    <a:pt x="111" y="2"/>
                    <a:pt x="111" y="6"/>
                  </a:cubicBezTo>
                  <a:cubicBezTo>
                    <a:pt x="109" y="39"/>
                    <a:pt x="109" y="39"/>
                    <a:pt x="109" y="39"/>
                  </a:cubicBezTo>
                  <a:cubicBezTo>
                    <a:pt x="109" y="41"/>
                    <a:pt x="107" y="43"/>
                    <a:pt x="105" y="44"/>
                  </a:cubicBezTo>
                  <a:cubicBezTo>
                    <a:pt x="99" y="46"/>
                    <a:pt x="93" y="48"/>
                    <a:pt x="88" y="51"/>
                  </a:cubicBezTo>
                  <a:cubicBezTo>
                    <a:pt x="86" y="52"/>
                    <a:pt x="84" y="52"/>
                    <a:pt x="82" y="50"/>
                  </a:cubicBezTo>
                  <a:cubicBezTo>
                    <a:pt x="57" y="28"/>
                    <a:pt x="57" y="28"/>
                    <a:pt x="57" y="28"/>
                  </a:cubicBezTo>
                  <a:cubicBezTo>
                    <a:pt x="54" y="26"/>
                    <a:pt x="51" y="26"/>
                    <a:pt x="49" y="28"/>
                  </a:cubicBezTo>
                  <a:cubicBezTo>
                    <a:pt x="28" y="49"/>
                    <a:pt x="28" y="49"/>
                    <a:pt x="28" y="49"/>
                  </a:cubicBezTo>
                  <a:cubicBezTo>
                    <a:pt x="26" y="51"/>
                    <a:pt x="26" y="54"/>
                    <a:pt x="28" y="57"/>
                  </a:cubicBezTo>
                  <a:cubicBezTo>
                    <a:pt x="50" y="82"/>
                    <a:pt x="50" y="82"/>
                    <a:pt x="50" y="82"/>
                  </a:cubicBezTo>
                  <a:cubicBezTo>
                    <a:pt x="52" y="84"/>
                    <a:pt x="52" y="86"/>
                    <a:pt x="51" y="88"/>
                  </a:cubicBezTo>
                  <a:cubicBezTo>
                    <a:pt x="48" y="93"/>
                    <a:pt x="46" y="99"/>
                    <a:pt x="44" y="105"/>
                  </a:cubicBezTo>
                  <a:cubicBezTo>
                    <a:pt x="43" y="107"/>
                    <a:pt x="41" y="108"/>
                    <a:pt x="39" y="108"/>
                  </a:cubicBezTo>
                  <a:cubicBezTo>
                    <a:pt x="6" y="110"/>
                    <a:pt x="6" y="110"/>
                    <a:pt x="6" y="110"/>
                  </a:cubicBezTo>
                  <a:cubicBezTo>
                    <a:pt x="2" y="110"/>
                    <a:pt x="0" y="113"/>
                    <a:pt x="0" y="116"/>
                  </a:cubicBezTo>
                  <a:cubicBezTo>
                    <a:pt x="0" y="146"/>
                    <a:pt x="0" y="146"/>
                    <a:pt x="0" y="146"/>
                  </a:cubicBezTo>
                  <a:cubicBezTo>
                    <a:pt x="0" y="149"/>
                    <a:pt x="2" y="152"/>
                    <a:pt x="6" y="152"/>
                  </a:cubicBezTo>
                  <a:cubicBezTo>
                    <a:pt x="39" y="154"/>
                    <a:pt x="39" y="154"/>
                    <a:pt x="39" y="154"/>
                  </a:cubicBezTo>
                  <a:cubicBezTo>
                    <a:pt x="41" y="154"/>
                    <a:pt x="43" y="156"/>
                    <a:pt x="44" y="158"/>
                  </a:cubicBezTo>
                  <a:cubicBezTo>
                    <a:pt x="46" y="164"/>
                    <a:pt x="48" y="169"/>
                    <a:pt x="51" y="175"/>
                  </a:cubicBezTo>
                  <a:cubicBezTo>
                    <a:pt x="52" y="177"/>
                    <a:pt x="52" y="179"/>
                    <a:pt x="50" y="181"/>
                  </a:cubicBezTo>
                  <a:cubicBezTo>
                    <a:pt x="28" y="206"/>
                    <a:pt x="28" y="206"/>
                    <a:pt x="28" y="206"/>
                  </a:cubicBezTo>
                  <a:cubicBezTo>
                    <a:pt x="26" y="208"/>
                    <a:pt x="26" y="212"/>
                    <a:pt x="28" y="214"/>
                  </a:cubicBezTo>
                  <a:cubicBezTo>
                    <a:pt x="49" y="234"/>
                    <a:pt x="49" y="234"/>
                    <a:pt x="49" y="234"/>
                  </a:cubicBezTo>
                  <a:cubicBezTo>
                    <a:pt x="51" y="237"/>
                    <a:pt x="54" y="237"/>
                    <a:pt x="57" y="235"/>
                  </a:cubicBezTo>
                  <a:cubicBezTo>
                    <a:pt x="82" y="212"/>
                    <a:pt x="82" y="212"/>
                    <a:pt x="82" y="212"/>
                  </a:cubicBezTo>
                  <a:cubicBezTo>
                    <a:pt x="84" y="211"/>
                    <a:pt x="86" y="211"/>
                    <a:pt x="88" y="212"/>
                  </a:cubicBezTo>
                  <a:cubicBezTo>
                    <a:pt x="93" y="214"/>
                    <a:pt x="99" y="217"/>
                    <a:pt x="105" y="219"/>
                  </a:cubicBezTo>
                  <a:cubicBezTo>
                    <a:pt x="107" y="220"/>
                    <a:pt x="108" y="221"/>
                    <a:pt x="108" y="223"/>
                  </a:cubicBezTo>
                  <a:cubicBezTo>
                    <a:pt x="110" y="257"/>
                    <a:pt x="110" y="257"/>
                    <a:pt x="110" y="257"/>
                  </a:cubicBezTo>
                  <a:cubicBezTo>
                    <a:pt x="110" y="260"/>
                    <a:pt x="113" y="262"/>
                    <a:pt x="116" y="262"/>
                  </a:cubicBezTo>
                  <a:cubicBezTo>
                    <a:pt x="146" y="262"/>
                    <a:pt x="146" y="262"/>
                    <a:pt x="146" y="262"/>
                  </a:cubicBezTo>
                  <a:cubicBezTo>
                    <a:pt x="149" y="262"/>
                    <a:pt x="151" y="260"/>
                    <a:pt x="152" y="257"/>
                  </a:cubicBezTo>
                  <a:cubicBezTo>
                    <a:pt x="154" y="223"/>
                    <a:pt x="154" y="223"/>
                    <a:pt x="154" y="223"/>
                  </a:cubicBezTo>
                  <a:cubicBezTo>
                    <a:pt x="154" y="221"/>
                    <a:pt x="155" y="219"/>
                    <a:pt x="157" y="219"/>
                  </a:cubicBezTo>
                  <a:cubicBezTo>
                    <a:pt x="163" y="217"/>
                    <a:pt x="169" y="215"/>
                    <a:pt x="174" y="212"/>
                  </a:cubicBezTo>
                  <a:cubicBezTo>
                    <a:pt x="176" y="210"/>
                    <a:pt x="178" y="211"/>
                    <a:pt x="180" y="212"/>
                  </a:cubicBezTo>
                  <a:cubicBezTo>
                    <a:pt x="205" y="235"/>
                    <a:pt x="205" y="235"/>
                    <a:pt x="205" y="235"/>
                  </a:cubicBezTo>
                  <a:cubicBezTo>
                    <a:pt x="208" y="237"/>
                    <a:pt x="211" y="237"/>
                    <a:pt x="213" y="234"/>
                  </a:cubicBezTo>
                  <a:cubicBezTo>
                    <a:pt x="234" y="214"/>
                    <a:pt x="234" y="214"/>
                    <a:pt x="234" y="214"/>
                  </a:cubicBezTo>
                  <a:cubicBezTo>
                    <a:pt x="236" y="212"/>
                    <a:pt x="236" y="208"/>
                    <a:pt x="234" y="206"/>
                  </a:cubicBezTo>
                  <a:cubicBezTo>
                    <a:pt x="212" y="181"/>
                    <a:pt x="212" y="181"/>
                    <a:pt x="212" y="181"/>
                  </a:cubicBezTo>
                  <a:cubicBezTo>
                    <a:pt x="210" y="179"/>
                    <a:pt x="210" y="177"/>
                    <a:pt x="211" y="175"/>
                  </a:cubicBezTo>
                  <a:cubicBezTo>
                    <a:pt x="214" y="170"/>
                    <a:pt x="216" y="164"/>
                    <a:pt x="218" y="158"/>
                  </a:cubicBezTo>
                  <a:cubicBezTo>
                    <a:pt x="219" y="156"/>
                    <a:pt x="220" y="154"/>
                    <a:pt x="222" y="154"/>
                  </a:cubicBezTo>
                  <a:cubicBezTo>
                    <a:pt x="256" y="152"/>
                    <a:pt x="256" y="152"/>
                    <a:pt x="256" y="152"/>
                  </a:cubicBezTo>
                  <a:cubicBezTo>
                    <a:pt x="259" y="152"/>
                    <a:pt x="262" y="149"/>
                    <a:pt x="262" y="146"/>
                  </a:cubicBezTo>
                  <a:cubicBezTo>
                    <a:pt x="262" y="117"/>
                    <a:pt x="262" y="117"/>
                    <a:pt x="262" y="117"/>
                  </a:cubicBezTo>
                  <a:cubicBezTo>
                    <a:pt x="263" y="114"/>
                    <a:pt x="260" y="111"/>
                    <a:pt x="25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662" tIns="42331" rIns="84662" bIns="42331" numCol="1" anchor="t" anchorCtr="0" compatLnSpc="1">
              <a:prstTxWarp prst="textNoShape">
                <a:avLst/>
              </a:prstTxWarp>
            </a:bodyPr>
            <a:lstStyle/>
            <a:p>
              <a:pPr algn="ctr" defTabSz="846569" rtl="0" fontAlgn="base"/>
              <a:endParaRPr lang="fr-fr" sz="1550" dirty="0">
                <a:solidFill>
                  <a:srgbClr val="505050"/>
                </a:solidFill>
                <a:latin typeface="Segoe UI"/>
                <a:cs typeface="Segoe UI"/>
              </a:endParaRPr>
            </a:p>
          </p:txBody>
        </p:sp>
      </p:grpSp>
      <p:grpSp>
        <p:nvGrpSpPr>
          <p:cNvPr id="179" name="Graphic 63" descr="turn-key protection, cloud, lock">
            <a:extLst>
              <a:ext uri="{FF2B5EF4-FFF2-40B4-BE49-F238E27FC236}">
                <a16:creationId xmlns:a16="http://schemas.microsoft.com/office/drawing/2014/main" id="{253DEC34-34D4-40E0-A7E6-2380D0214D60}"/>
              </a:ext>
            </a:extLst>
          </p:cNvPr>
          <p:cNvGrpSpPr/>
          <p:nvPr/>
        </p:nvGrpSpPr>
        <p:grpSpPr>
          <a:xfrm>
            <a:off x="2627663" y="7566667"/>
            <a:ext cx="638159" cy="631581"/>
            <a:chOff x="5361894" y="1227862"/>
            <a:chExt cx="555512" cy="549786"/>
          </a:xfrm>
        </p:grpSpPr>
        <p:sp>
          <p:nvSpPr>
            <p:cNvPr id="180" name="Freeform: Shape 179">
              <a:extLst>
                <a:ext uri="{FF2B5EF4-FFF2-40B4-BE49-F238E27FC236}">
                  <a16:creationId xmlns:a16="http://schemas.microsoft.com/office/drawing/2014/main" id="{2D3453E7-849E-453B-A146-CEE9A5696F4B}"/>
                </a:ext>
              </a:extLst>
            </p:cNvPr>
            <p:cNvSpPr/>
            <p:nvPr/>
          </p:nvSpPr>
          <p:spPr>
            <a:xfrm>
              <a:off x="5360579" y="1371711"/>
              <a:ext cx="74450" cy="74450"/>
            </a:xfrm>
            <a:custGeom>
              <a:avLst/>
              <a:gdLst>
                <a:gd name="connsiteX0" fmla="*/ 38201 w 74450"/>
                <a:gd name="connsiteY0" fmla="*/ 73834 h 74450"/>
                <a:gd name="connsiteX1" fmla="*/ 73833 w 74450"/>
                <a:gd name="connsiteY1" fmla="*/ 38201 h 74450"/>
                <a:gd name="connsiteX2" fmla="*/ 38201 w 74450"/>
                <a:gd name="connsiteY2" fmla="*/ 2568 h 74450"/>
                <a:gd name="connsiteX3" fmla="*/ 2568 w 74450"/>
                <a:gd name="connsiteY3" fmla="*/ 38201 h 74450"/>
                <a:gd name="connsiteX4" fmla="*/ 38201 w 74450"/>
                <a:gd name="connsiteY4" fmla="*/ 73834 h 74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50" h="74450">
                  <a:moveTo>
                    <a:pt x="38201" y="73834"/>
                  </a:moveTo>
                  <a:cubicBezTo>
                    <a:pt x="57880" y="73834"/>
                    <a:pt x="73833" y="57880"/>
                    <a:pt x="73833" y="38201"/>
                  </a:cubicBezTo>
                  <a:cubicBezTo>
                    <a:pt x="73833" y="18522"/>
                    <a:pt x="57880" y="2568"/>
                    <a:pt x="38201" y="2568"/>
                  </a:cubicBezTo>
                  <a:cubicBezTo>
                    <a:pt x="18522" y="2568"/>
                    <a:pt x="2568" y="18522"/>
                    <a:pt x="2568" y="38201"/>
                  </a:cubicBezTo>
                  <a:cubicBezTo>
                    <a:pt x="2568" y="57880"/>
                    <a:pt x="18522" y="73834"/>
                    <a:pt x="38201" y="73834"/>
                  </a:cubicBezTo>
                  <a:close/>
                </a:path>
              </a:pathLst>
            </a:custGeom>
            <a:solidFill>
              <a:srgbClr val="50E6FF"/>
            </a:solidFill>
            <a:ln w="5695" cap="flat">
              <a:noFill/>
              <a:prstDash val="solid"/>
              <a:miter/>
            </a:ln>
          </p:spPr>
          <p:txBody>
            <a:bodyPr rtlCol="0" anchor="ctr"/>
            <a:lstStyle/>
            <a:p>
              <a:endParaRPr lang="fr-fr" sz="1650" dirty="0">
                <a:cs typeface="Segoe UI"/>
              </a:endParaRPr>
            </a:p>
          </p:txBody>
        </p:sp>
        <p:sp>
          <p:nvSpPr>
            <p:cNvPr id="181" name="Freeform: Shape 180">
              <a:extLst>
                <a:ext uri="{FF2B5EF4-FFF2-40B4-BE49-F238E27FC236}">
                  <a16:creationId xmlns:a16="http://schemas.microsoft.com/office/drawing/2014/main" id="{846ABF4C-A915-4CEE-A875-A03CD449D6B8}"/>
                </a:ext>
              </a:extLst>
            </p:cNvPr>
            <p:cNvSpPr/>
            <p:nvPr/>
          </p:nvSpPr>
          <p:spPr>
            <a:xfrm>
              <a:off x="5367894" y="1372673"/>
              <a:ext cx="446700" cy="257712"/>
            </a:xfrm>
            <a:custGeom>
              <a:avLst/>
              <a:gdLst>
                <a:gd name="connsiteX0" fmla="*/ 443273 w 446700"/>
                <a:gd name="connsiteY0" fmla="*/ 181396 h 257712"/>
                <a:gd name="connsiteX1" fmla="*/ 445648 w 446700"/>
                <a:gd name="connsiteY1" fmla="*/ 159637 h 257712"/>
                <a:gd name="connsiteX2" fmla="*/ 345781 w 446700"/>
                <a:gd name="connsiteY2" fmla="*/ 59771 h 257712"/>
                <a:gd name="connsiteX3" fmla="*/ 323452 w 446700"/>
                <a:gd name="connsiteY3" fmla="*/ 62336 h 257712"/>
                <a:gd name="connsiteX4" fmla="*/ 214844 w 446700"/>
                <a:gd name="connsiteY4" fmla="*/ 2568 h 257712"/>
                <a:gd name="connsiteX5" fmla="*/ 86376 w 446700"/>
                <a:gd name="connsiteY5" fmla="*/ 131036 h 257712"/>
                <a:gd name="connsiteX6" fmla="*/ 86471 w 446700"/>
                <a:gd name="connsiteY6" fmla="*/ 136262 h 257712"/>
                <a:gd name="connsiteX7" fmla="*/ 65852 w 446700"/>
                <a:gd name="connsiteY7" fmla="*/ 132841 h 257712"/>
                <a:gd name="connsiteX8" fmla="*/ 2568 w 446700"/>
                <a:gd name="connsiteY8" fmla="*/ 196125 h 257712"/>
                <a:gd name="connsiteX9" fmla="*/ 59580 w 446700"/>
                <a:gd name="connsiteY9" fmla="*/ 259029 h 257712"/>
                <a:gd name="connsiteX10" fmla="*/ 345781 w 446700"/>
                <a:gd name="connsiteY10" fmla="*/ 259598 h 257712"/>
                <a:gd name="connsiteX11" fmla="*/ 434530 w 446700"/>
                <a:gd name="connsiteY11" fmla="*/ 205627 h 257712"/>
                <a:gd name="connsiteX12" fmla="*/ 433771 w 446700"/>
                <a:gd name="connsiteY12" fmla="*/ 199735 h 257712"/>
                <a:gd name="connsiteX13" fmla="*/ 443273 w 446700"/>
                <a:gd name="connsiteY13" fmla="*/ 181396 h 25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6700" h="257712">
                  <a:moveTo>
                    <a:pt x="443273" y="181396"/>
                  </a:moveTo>
                  <a:cubicBezTo>
                    <a:pt x="444793" y="174365"/>
                    <a:pt x="445648" y="167143"/>
                    <a:pt x="445648" y="159637"/>
                  </a:cubicBezTo>
                  <a:cubicBezTo>
                    <a:pt x="445648" y="104430"/>
                    <a:pt x="400893" y="59771"/>
                    <a:pt x="345781" y="59771"/>
                  </a:cubicBezTo>
                  <a:cubicBezTo>
                    <a:pt x="338085" y="59771"/>
                    <a:pt x="330578" y="60626"/>
                    <a:pt x="323452" y="62336"/>
                  </a:cubicBezTo>
                  <a:cubicBezTo>
                    <a:pt x="300647" y="26418"/>
                    <a:pt x="260549" y="2568"/>
                    <a:pt x="214844" y="2568"/>
                  </a:cubicBezTo>
                  <a:cubicBezTo>
                    <a:pt x="143864" y="2568"/>
                    <a:pt x="86376" y="60150"/>
                    <a:pt x="86376" y="131036"/>
                  </a:cubicBezTo>
                  <a:cubicBezTo>
                    <a:pt x="86376" y="132841"/>
                    <a:pt x="86376" y="134551"/>
                    <a:pt x="86471" y="136262"/>
                  </a:cubicBezTo>
                  <a:cubicBezTo>
                    <a:pt x="80010" y="134077"/>
                    <a:pt x="73073" y="132841"/>
                    <a:pt x="65852" y="132841"/>
                  </a:cubicBezTo>
                  <a:cubicBezTo>
                    <a:pt x="30884" y="132841"/>
                    <a:pt x="2568" y="161157"/>
                    <a:pt x="2568" y="196125"/>
                  </a:cubicBezTo>
                  <a:cubicBezTo>
                    <a:pt x="2568" y="228907"/>
                    <a:pt x="27559" y="255892"/>
                    <a:pt x="59580" y="259029"/>
                  </a:cubicBezTo>
                  <a:lnTo>
                    <a:pt x="345781" y="259598"/>
                  </a:lnTo>
                  <a:cubicBezTo>
                    <a:pt x="384455" y="259598"/>
                    <a:pt x="417902" y="237649"/>
                    <a:pt x="434530" y="205627"/>
                  </a:cubicBezTo>
                  <a:cubicBezTo>
                    <a:pt x="434056" y="203726"/>
                    <a:pt x="433771" y="201826"/>
                    <a:pt x="433771" y="199735"/>
                  </a:cubicBezTo>
                  <a:cubicBezTo>
                    <a:pt x="433675" y="192134"/>
                    <a:pt x="437476" y="185388"/>
                    <a:pt x="443273" y="181396"/>
                  </a:cubicBezTo>
                  <a:close/>
                </a:path>
              </a:pathLst>
            </a:custGeom>
            <a:solidFill>
              <a:srgbClr val="50E6FF"/>
            </a:solidFill>
            <a:ln w="5695" cap="flat">
              <a:noFill/>
              <a:prstDash val="solid"/>
              <a:miter/>
            </a:ln>
          </p:spPr>
          <p:txBody>
            <a:bodyPr rtlCol="0" anchor="ctr"/>
            <a:lstStyle/>
            <a:p>
              <a:endParaRPr lang="fr-fr" sz="1650" dirty="0">
                <a:cs typeface="Segoe UI"/>
              </a:endParaRPr>
            </a:p>
          </p:txBody>
        </p:sp>
        <p:sp>
          <p:nvSpPr>
            <p:cNvPr id="182" name="Freeform: Shape 181">
              <a:extLst>
                <a:ext uri="{FF2B5EF4-FFF2-40B4-BE49-F238E27FC236}">
                  <a16:creationId xmlns:a16="http://schemas.microsoft.com/office/drawing/2014/main" id="{98FFFEA0-A230-4EE2-9DC6-27BF1464839A}"/>
                </a:ext>
              </a:extLst>
            </p:cNvPr>
            <p:cNvSpPr/>
            <p:nvPr/>
          </p:nvSpPr>
          <p:spPr>
            <a:xfrm>
              <a:off x="5732012" y="1391017"/>
              <a:ext cx="183262" cy="269166"/>
            </a:xfrm>
            <a:custGeom>
              <a:avLst/>
              <a:gdLst>
                <a:gd name="connsiteX0" fmla="*/ 91982 w 183261"/>
                <a:gd name="connsiteY0" fmla="*/ 2568 h 269166"/>
                <a:gd name="connsiteX1" fmla="*/ 2568 w 183261"/>
                <a:gd name="connsiteY1" fmla="*/ 91982 h 269166"/>
                <a:gd name="connsiteX2" fmla="*/ 2568 w 183261"/>
                <a:gd name="connsiteY2" fmla="*/ 270716 h 269166"/>
                <a:gd name="connsiteX3" fmla="*/ 181301 w 183261"/>
                <a:gd name="connsiteY3" fmla="*/ 270716 h 269166"/>
                <a:gd name="connsiteX4" fmla="*/ 181301 w 183261"/>
                <a:gd name="connsiteY4" fmla="*/ 91982 h 269166"/>
                <a:gd name="connsiteX5" fmla="*/ 91982 w 183261"/>
                <a:gd name="connsiteY5" fmla="*/ 2568 h 269166"/>
                <a:gd name="connsiteX6" fmla="*/ 91982 w 183261"/>
                <a:gd name="connsiteY6" fmla="*/ 203726 h 269166"/>
                <a:gd name="connsiteX7" fmla="*/ 69652 w 183261"/>
                <a:gd name="connsiteY7" fmla="*/ 181396 h 269166"/>
                <a:gd name="connsiteX8" fmla="*/ 91982 w 183261"/>
                <a:gd name="connsiteY8" fmla="*/ 159067 h 269166"/>
                <a:gd name="connsiteX9" fmla="*/ 114312 w 183261"/>
                <a:gd name="connsiteY9" fmla="*/ 181396 h 269166"/>
                <a:gd name="connsiteX10" fmla="*/ 91982 w 183261"/>
                <a:gd name="connsiteY10" fmla="*/ 203726 h 269166"/>
                <a:gd name="connsiteX11" fmla="*/ 31074 w 183261"/>
                <a:gd name="connsiteY11" fmla="*/ 91982 h 269166"/>
                <a:gd name="connsiteX12" fmla="*/ 48938 w 183261"/>
                <a:gd name="connsiteY12" fmla="*/ 49033 h 269166"/>
                <a:gd name="connsiteX13" fmla="*/ 91887 w 183261"/>
                <a:gd name="connsiteY13" fmla="*/ 31169 h 269166"/>
                <a:gd name="connsiteX14" fmla="*/ 134836 w 183261"/>
                <a:gd name="connsiteY14" fmla="*/ 49033 h 269166"/>
                <a:gd name="connsiteX15" fmla="*/ 152700 w 183261"/>
                <a:gd name="connsiteY15" fmla="*/ 91982 h 269166"/>
                <a:gd name="connsiteX16" fmla="*/ 31074 w 183261"/>
                <a:gd name="connsiteY16" fmla="*/ 91982 h 26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261" h="269166">
                  <a:moveTo>
                    <a:pt x="91982" y="2568"/>
                  </a:moveTo>
                  <a:cubicBezTo>
                    <a:pt x="42857" y="2568"/>
                    <a:pt x="2568" y="42762"/>
                    <a:pt x="2568" y="91982"/>
                  </a:cubicBezTo>
                  <a:lnTo>
                    <a:pt x="2568" y="270716"/>
                  </a:lnTo>
                  <a:lnTo>
                    <a:pt x="181301" y="270716"/>
                  </a:lnTo>
                  <a:lnTo>
                    <a:pt x="181301" y="91982"/>
                  </a:lnTo>
                  <a:cubicBezTo>
                    <a:pt x="181301" y="42762"/>
                    <a:pt x="141108" y="2568"/>
                    <a:pt x="91982" y="2568"/>
                  </a:cubicBezTo>
                  <a:close/>
                  <a:moveTo>
                    <a:pt x="91982" y="203726"/>
                  </a:moveTo>
                  <a:cubicBezTo>
                    <a:pt x="79630" y="203726"/>
                    <a:pt x="69652" y="193749"/>
                    <a:pt x="69652" y="181396"/>
                  </a:cubicBezTo>
                  <a:cubicBezTo>
                    <a:pt x="69652" y="169044"/>
                    <a:pt x="79630" y="159067"/>
                    <a:pt x="91982" y="159067"/>
                  </a:cubicBezTo>
                  <a:cubicBezTo>
                    <a:pt x="104335" y="159067"/>
                    <a:pt x="114312" y="169044"/>
                    <a:pt x="114312" y="181396"/>
                  </a:cubicBezTo>
                  <a:cubicBezTo>
                    <a:pt x="114312" y="193654"/>
                    <a:pt x="104240" y="203726"/>
                    <a:pt x="91982" y="203726"/>
                  </a:cubicBezTo>
                  <a:close/>
                  <a:moveTo>
                    <a:pt x="31074" y="91982"/>
                  </a:moveTo>
                  <a:cubicBezTo>
                    <a:pt x="31074" y="75829"/>
                    <a:pt x="37441" y="60531"/>
                    <a:pt x="48938" y="49033"/>
                  </a:cubicBezTo>
                  <a:cubicBezTo>
                    <a:pt x="60530" y="37441"/>
                    <a:pt x="75734" y="31169"/>
                    <a:pt x="91887" y="31169"/>
                  </a:cubicBezTo>
                  <a:cubicBezTo>
                    <a:pt x="108041" y="31169"/>
                    <a:pt x="123339" y="37536"/>
                    <a:pt x="134836" y="49033"/>
                  </a:cubicBezTo>
                  <a:cubicBezTo>
                    <a:pt x="146429" y="60626"/>
                    <a:pt x="152700" y="75829"/>
                    <a:pt x="152700" y="91982"/>
                  </a:cubicBezTo>
                  <a:lnTo>
                    <a:pt x="31074" y="91982"/>
                  </a:lnTo>
                  <a:close/>
                </a:path>
              </a:pathLst>
            </a:custGeom>
            <a:solidFill>
              <a:srgbClr val="0078D4"/>
            </a:solidFill>
            <a:ln w="5695" cap="flat">
              <a:noFill/>
              <a:prstDash val="solid"/>
              <a:miter/>
            </a:ln>
          </p:spPr>
          <p:txBody>
            <a:bodyPr rtlCol="0" anchor="ctr"/>
            <a:lstStyle/>
            <a:p>
              <a:endParaRPr lang="fr-fr" sz="1650" dirty="0">
                <a:cs typeface="Segoe UI"/>
              </a:endParaRPr>
            </a:p>
          </p:txBody>
        </p:sp>
      </p:grpSp>
      <p:pic>
        <p:nvPicPr>
          <p:cNvPr id="183" name="Graphic 182">
            <a:extLst>
              <a:ext uri="{FF2B5EF4-FFF2-40B4-BE49-F238E27FC236}">
                <a16:creationId xmlns:a16="http://schemas.microsoft.com/office/drawing/2014/main" id="{17FF6184-C9EA-4A35-A1ED-A01E0808C31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59965" y="4414370"/>
            <a:ext cx="549079" cy="455334"/>
          </a:xfrm>
          <a:prstGeom prst="rect">
            <a:avLst/>
          </a:prstGeom>
        </p:spPr>
      </p:pic>
      <p:pic>
        <p:nvPicPr>
          <p:cNvPr id="184" name="Graphic 183">
            <a:extLst>
              <a:ext uri="{FF2B5EF4-FFF2-40B4-BE49-F238E27FC236}">
                <a16:creationId xmlns:a16="http://schemas.microsoft.com/office/drawing/2014/main" id="{60249FB0-C30E-4818-BC99-125E91A1C36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162511" y="4414369"/>
            <a:ext cx="546695" cy="453356"/>
          </a:xfrm>
          <a:prstGeom prst="rect">
            <a:avLst/>
          </a:prstGeom>
        </p:spPr>
      </p:pic>
      <p:sp>
        <p:nvSpPr>
          <p:cNvPr id="185" name="Freeform: Shape 184">
            <a:extLst>
              <a:ext uri="{FF2B5EF4-FFF2-40B4-BE49-F238E27FC236}">
                <a16:creationId xmlns:a16="http://schemas.microsoft.com/office/drawing/2014/main" id="{E775E18A-AD8F-4EEE-9531-9795DA5763DB}"/>
              </a:ext>
            </a:extLst>
          </p:cNvPr>
          <p:cNvSpPr/>
          <p:nvPr/>
        </p:nvSpPr>
        <p:spPr bwMode="auto">
          <a:xfrm>
            <a:off x="1705366" y="4709804"/>
            <a:ext cx="1259417" cy="575733"/>
          </a:xfrm>
          <a:custGeom>
            <a:avLst/>
            <a:gdLst>
              <a:gd name="connsiteX0" fmla="*/ 0 w 1333500"/>
              <a:gd name="connsiteY0" fmla="*/ 0 h 609600"/>
              <a:gd name="connsiteX1" fmla="*/ 1333500 w 1333500"/>
              <a:gd name="connsiteY1" fmla="*/ 609600 h 609600"/>
            </a:gdLst>
            <a:ahLst/>
            <a:cxnLst>
              <a:cxn ang="0">
                <a:pos x="connsiteX0" y="connsiteY0"/>
              </a:cxn>
              <a:cxn ang="0">
                <a:pos x="connsiteX1" y="connsiteY1"/>
              </a:cxn>
            </a:cxnLst>
            <a:rect l="l" t="t" r="r" b="b"/>
            <a:pathLst>
              <a:path w="1333500" h="609600">
                <a:moveTo>
                  <a:pt x="0" y="0"/>
                </a:moveTo>
                <a:lnTo>
                  <a:pt x="1333500" y="609600"/>
                </a:lnTo>
              </a:path>
            </a:pathLst>
          </a:cu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rtl="0"/>
            <a:endParaRPr lang="fr-fr" sz="1650" dirty="0">
              <a:cs typeface="Segoe UI"/>
            </a:endParaRPr>
          </a:p>
        </p:txBody>
      </p:sp>
      <p:sp>
        <p:nvSpPr>
          <p:cNvPr id="186" name="Freeform: Shape 185">
            <a:extLst>
              <a:ext uri="{FF2B5EF4-FFF2-40B4-BE49-F238E27FC236}">
                <a16:creationId xmlns:a16="http://schemas.microsoft.com/office/drawing/2014/main" id="{54D0C88B-78F8-41EA-AFFB-52B8B2C51223}"/>
              </a:ext>
            </a:extLst>
          </p:cNvPr>
          <p:cNvSpPr/>
          <p:nvPr/>
        </p:nvSpPr>
        <p:spPr bwMode="auto">
          <a:xfrm flipH="1">
            <a:off x="4769484" y="4712922"/>
            <a:ext cx="1259417" cy="575733"/>
          </a:xfrm>
          <a:custGeom>
            <a:avLst/>
            <a:gdLst>
              <a:gd name="connsiteX0" fmla="*/ 0 w 1333500"/>
              <a:gd name="connsiteY0" fmla="*/ 0 h 609600"/>
              <a:gd name="connsiteX1" fmla="*/ 1333500 w 1333500"/>
              <a:gd name="connsiteY1" fmla="*/ 609600 h 609600"/>
            </a:gdLst>
            <a:ahLst/>
            <a:cxnLst>
              <a:cxn ang="0">
                <a:pos x="connsiteX0" y="connsiteY0"/>
              </a:cxn>
              <a:cxn ang="0">
                <a:pos x="connsiteX1" y="connsiteY1"/>
              </a:cxn>
            </a:cxnLst>
            <a:rect l="l" t="t" r="r" b="b"/>
            <a:pathLst>
              <a:path w="1333500" h="609600">
                <a:moveTo>
                  <a:pt x="0" y="0"/>
                </a:moveTo>
                <a:lnTo>
                  <a:pt x="1333500" y="609600"/>
                </a:lnTo>
              </a:path>
            </a:pathLst>
          </a:cu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rtl="0"/>
            <a:endParaRPr lang="fr-fr" sz="1650" dirty="0">
              <a:cs typeface="Segoe UI"/>
            </a:endParaRPr>
          </a:p>
        </p:txBody>
      </p:sp>
      <p:sp>
        <p:nvSpPr>
          <p:cNvPr id="187" name="Freeform: Shape 186">
            <a:extLst>
              <a:ext uri="{FF2B5EF4-FFF2-40B4-BE49-F238E27FC236}">
                <a16:creationId xmlns:a16="http://schemas.microsoft.com/office/drawing/2014/main" id="{3FACE512-B239-451A-8015-4CDB9C57BD44}"/>
              </a:ext>
            </a:extLst>
          </p:cNvPr>
          <p:cNvSpPr/>
          <p:nvPr/>
        </p:nvSpPr>
        <p:spPr bwMode="auto">
          <a:xfrm rot="20198623" flipV="1">
            <a:off x="3210968" y="7028295"/>
            <a:ext cx="1067506" cy="848605"/>
          </a:xfrm>
          <a:custGeom>
            <a:avLst/>
            <a:gdLst>
              <a:gd name="connsiteX0" fmla="*/ 0 w 1333500"/>
              <a:gd name="connsiteY0" fmla="*/ 0 h 609600"/>
              <a:gd name="connsiteX1" fmla="*/ 1333500 w 1333500"/>
              <a:gd name="connsiteY1" fmla="*/ 609600 h 609600"/>
            </a:gdLst>
            <a:ahLst/>
            <a:cxnLst>
              <a:cxn ang="0">
                <a:pos x="connsiteX0" y="connsiteY0"/>
              </a:cxn>
              <a:cxn ang="0">
                <a:pos x="connsiteX1" y="connsiteY1"/>
              </a:cxn>
            </a:cxnLst>
            <a:rect l="l" t="t" r="r" b="b"/>
            <a:pathLst>
              <a:path w="1333500" h="609600">
                <a:moveTo>
                  <a:pt x="0" y="0"/>
                </a:moveTo>
                <a:lnTo>
                  <a:pt x="1333500" y="609600"/>
                </a:lnTo>
              </a:path>
            </a:pathLst>
          </a:cu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rtl="0"/>
            <a:endParaRPr lang="fr-fr" sz="1650" dirty="0">
              <a:cs typeface="Segoe UI"/>
            </a:endParaRPr>
          </a:p>
        </p:txBody>
      </p:sp>
      <p:sp>
        <p:nvSpPr>
          <p:cNvPr id="188" name="Freeform: Shape 187">
            <a:extLst>
              <a:ext uri="{FF2B5EF4-FFF2-40B4-BE49-F238E27FC236}">
                <a16:creationId xmlns:a16="http://schemas.microsoft.com/office/drawing/2014/main" id="{EED8EA67-8100-4F3B-A1A8-39DB236FC7B6}"/>
              </a:ext>
            </a:extLst>
          </p:cNvPr>
          <p:cNvSpPr/>
          <p:nvPr/>
        </p:nvSpPr>
        <p:spPr bwMode="auto">
          <a:xfrm rot="4806830">
            <a:off x="2207174" y="6531764"/>
            <a:ext cx="248549" cy="646331"/>
          </a:xfrm>
          <a:custGeom>
            <a:avLst/>
            <a:gdLst>
              <a:gd name="connsiteX0" fmla="*/ 0 w 0"/>
              <a:gd name="connsiteY0" fmla="*/ 0 h 609600"/>
              <a:gd name="connsiteX1" fmla="*/ 0 w 0"/>
              <a:gd name="connsiteY1" fmla="*/ 609600 h 609600"/>
            </a:gdLst>
            <a:ahLst/>
            <a:cxnLst>
              <a:cxn ang="0">
                <a:pos x="connsiteX0" y="connsiteY0"/>
              </a:cxn>
              <a:cxn ang="0">
                <a:pos x="connsiteX1" y="connsiteY1"/>
              </a:cxn>
            </a:cxnLst>
            <a:rect l="l" t="t" r="r" b="b"/>
            <a:pathLst>
              <a:path h="609600">
                <a:moveTo>
                  <a:pt x="0" y="0"/>
                </a:moveTo>
                <a:lnTo>
                  <a:pt x="0" y="609600"/>
                </a:lnTo>
              </a:path>
            </a:pathLst>
          </a:cu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rtl="0"/>
            <a:endParaRPr lang="fr-fr" sz="1650" dirty="0">
              <a:cs typeface="Segoe UI"/>
            </a:endParaRPr>
          </a:p>
        </p:txBody>
      </p:sp>
      <p:sp>
        <p:nvSpPr>
          <p:cNvPr id="189" name="Freeform: Shape 188">
            <a:extLst>
              <a:ext uri="{FF2B5EF4-FFF2-40B4-BE49-F238E27FC236}">
                <a16:creationId xmlns:a16="http://schemas.microsoft.com/office/drawing/2014/main" id="{8F0E9563-213D-4F4A-8421-12A864BA0A31}"/>
              </a:ext>
            </a:extLst>
          </p:cNvPr>
          <p:cNvSpPr/>
          <p:nvPr/>
        </p:nvSpPr>
        <p:spPr bwMode="auto">
          <a:xfrm flipH="1" flipV="1">
            <a:off x="4516863" y="6496448"/>
            <a:ext cx="1067506" cy="848605"/>
          </a:xfrm>
          <a:custGeom>
            <a:avLst/>
            <a:gdLst>
              <a:gd name="connsiteX0" fmla="*/ 0 w 1333500"/>
              <a:gd name="connsiteY0" fmla="*/ 0 h 609600"/>
              <a:gd name="connsiteX1" fmla="*/ 1333500 w 1333500"/>
              <a:gd name="connsiteY1" fmla="*/ 609600 h 609600"/>
            </a:gdLst>
            <a:ahLst/>
            <a:cxnLst>
              <a:cxn ang="0">
                <a:pos x="connsiteX0" y="connsiteY0"/>
              </a:cxn>
              <a:cxn ang="0">
                <a:pos x="connsiteX1" y="connsiteY1"/>
              </a:cxn>
            </a:cxnLst>
            <a:rect l="l" t="t" r="r" b="b"/>
            <a:pathLst>
              <a:path w="1333500" h="609600">
                <a:moveTo>
                  <a:pt x="0" y="0"/>
                </a:moveTo>
                <a:lnTo>
                  <a:pt x="1333500" y="609600"/>
                </a:lnTo>
              </a:path>
            </a:pathLst>
          </a:cu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rtl="0"/>
            <a:endParaRPr lang="fr-fr" sz="1650" dirty="0">
              <a:cs typeface="Segoe UI"/>
            </a:endParaRPr>
          </a:p>
        </p:txBody>
      </p:sp>
      <p:pic>
        <p:nvPicPr>
          <p:cNvPr id="3" name="Graphic 2">
            <a:extLst>
              <a:ext uri="{FF2B5EF4-FFF2-40B4-BE49-F238E27FC236}">
                <a16:creationId xmlns:a16="http://schemas.microsoft.com/office/drawing/2014/main" id="{809736FD-4FE8-4A58-9418-1FF93F59EFC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95911" y="9552429"/>
            <a:ext cx="932172" cy="963506"/>
          </a:xfrm>
          <a:prstGeom prst="rect">
            <a:avLst/>
          </a:prstGeom>
        </p:spPr>
      </p:pic>
      <p:pic>
        <p:nvPicPr>
          <p:cNvPr id="59" name="Picture 58" descr="A picture containing light, computer, clock, white&#10;&#10;Description automatically generated">
            <a:extLst>
              <a:ext uri="{FF2B5EF4-FFF2-40B4-BE49-F238E27FC236}">
                <a16:creationId xmlns:a16="http://schemas.microsoft.com/office/drawing/2014/main" id="{3A77F869-01A9-45E6-906C-283C019E801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620088" y="347588"/>
            <a:ext cx="3099559" cy="2722662"/>
          </a:xfrm>
          <a:prstGeom prst="rect">
            <a:avLst/>
          </a:prstGeom>
        </p:spPr>
      </p:pic>
      <p:sp>
        <p:nvSpPr>
          <p:cNvPr id="168" name="Oval 167">
            <a:extLst>
              <a:ext uri="{FF2B5EF4-FFF2-40B4-BE49-F238E27FC236}">
                <a16:creationId xmlns:a16="http://schemas.microsoft.com/office/drawing/2014/main" id="{3E051E81-C04D-4844-9D84-86C3EA7BEB78}"/>
              </a:ext>
            </a:extLst>
          </p:cNvPr>
          <p:cNvSpPr/>
          <p:nvPr/>
        </p:nvSpPr>
        <p:spPr bwMode="auto">
          <a:xfrm>
            <a:off x="2451104" y="4585504"/>
            <a:ext cx="3189271" cy="3189271"/>
          </a:xfrm>
          <a:prstGeom prst="ellipse">
            <a:avLst/>
          </a:prstGeom>
          <a:solidFill>
            <a:schemeClr val="tx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endParaRPr lang="fr-fr" sz="1800" dirty="0">
              <a:solidFill>
                <a:schemeClr val="bg1"/>
              </a:solidFill>
              <a:latin typeface="Segoe UI Semibold" panose="020B0702040204020203" pitchFamily="34" charset="0"/>
              <a:cs typeface="Segoe UI Semibold" panose="020B0702040204020203" pitchFamily="34" charset="0"/>
            </a:endParaRPr>
          </a:p>
        </p:txBody>
      </p:sp>
      <p:pic>
        <p:nvPicPr>
          <p:cNvPr id="61" name="Picture 60" descr="A picture containing food&#10;&#10;Description automatically generated">
            <a:extLst>
              <a:ext uri="{FF2B5EF4-FFF2-40B4-BE49-F238E27FC236}">
                <a16:creationId xmlns:a16="http://schemas.microsoft.com/office/drawing/2014/main" id="{1DBD6DD2-E9A6-47F8-ACA0-42202E22A69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778551" y="5058072"/>
            <a:ext cx="2576906" cy="1310926"/>
          </a:xfrm>
          <a:prstGeom prst="rect">
            <a:avLst/>
          </a:prstGeom>
        </p:spPr>
      </p:pic>
      <p:sp>
        <p:nvSpPr>
          <p:cNvPr id="2" name="Rectangle 1">
            <a:extLst>
              <a:ext uri="{FF2B5EF4-FFF2-40B4-BE49-F238E27FC236}">
                <a16:creationId xmlns:a16="http://schemas.microsoft.com/office/drawing/2014/main" id="{20AA8DDD-733E-4102-A442-7EC0D027BABB}"/>
              </a:ext>
            </a:extLst>
          </p:cNvPr>
          <p:cNvSpPr/>
          <p:nvPr/>
        </p:nvSpPr>
        <p:spPr>
          <a:xfrm>
            <a:off x="2102639" y="6477402"/>
            <a:ext cx="3886200" cy="923330"/>
          </a:xfrm>
          <a:prstGeom prst="rect">
            <a:avLst/>
          </a:prstGeom>
        </p:spPr>
        <p:txBody>
          <a:bodyPr anchor="t">
            <a:spAutoFit/>
          </a:bodyPr>
          <a:lstStyle/>
          <a:p>
            <a:pPr algn="ctr" rtl="0"/>
            <a:r>
              <a:rPr lang="fr-fr" b="0" i="0" u="none" baseline="0" dirty="0">
                <a:solidFill>
                  <a:schemeClr val="accent3"/>
                </a:solidFill>
                <a:latin typeface="Segoe UI Semibold"/>
                <a:cs typeface="Segoe UI Semibold"/>
              </a:rPr>
              <a:t>Infrastructure cloud </a:t>
            </a:r>
            <a:br>
              <a:rPr lang="fr-fr" b="0" i="0" u="none" baseline="0" dirty="0">
                <a:latin typeface="Segoe UI Semibold" panose="020B0702040204020203" pitchFamily="34" charset="0"/>
                <a:cs typeface="Segoe UI Semibold" panose="020B0702040204020203" pitchFamily="34" charset="0"/>
              </a:rPr>
            </a:br>
            <a:r>
              <a:rPr lang="fr-fr" b="0" i="0" u="none" baseline="0" dirty="0">
                <a:solidFill>
                  <a:schemeClr val="accent3"/>
                </a:solidFill>
                <a:latin typeface="Segoe UI Semibold"/>
                <a:cs typeface="Segoe UI Semibold"/>
              </a:rPr>
              <a:t>hybride de bout </a:t>
            </a:r>
            <a:br>
              <a:rPr lang="fr-fr" b="0" i="0" u="none" baseline="0" dirty="0">
                <a:latin typeface="Segoe UI Semibold" panose="020B0702040204020203" pitchFamily="34" charset="0"/>
                <a:cs typeface="Segoe UI Semibold" panose="020B0702040204020203" pitchFamily="34" charset="0"/>
              </a:rPr>
            </a:br>
            <a:r>
              <a:rPr lang="fr-fr" b="0" i="0" u="none" baseline="0" dirty="0">
                <a:solidFill>
                  <a:schemeClr val="accent3"/>
                </a:solidFill>
                <a:latin typeface="Segoe UI Semibold"/>
                <a:cs typeface="Segoe UI Semibold"/>
              </a:rPr>
              <a:t>en bout</a:t>
            </a:r>
          </a:p>
        </p:txBody>
      </p:sp>
      <p:sp>
        <p:nvSpPr>
          <p:cNvPr id="63" name="TextBox 62">
            <a:extLst>
              <a:ext uri="{FF2B5EF4-FFF2-40B4-BE49-F238E27FC236}">
                <a16:creationId xmlns:a16="http://schemas.microsoft.com/office/drawing/2014/main" id="{3428F19F-AD74-4286-BC60-8AA7EF0FFAB3}"/>
              </a:ext>
            </a:extLst>
          </p:cNvPr>
          <p:cNvSpPr txBox="1"/>
          <p:nvPr/>
        </p:nvSpPr>
        <p:spPr>
          <a:xfrm>
            <a:off x="692632" y="13979004"/>
            <a:ext cx="6172200" cy="492443"/>
          </a:xfrm>
          <a:prstGeom prst="rect">
            <a:avLst/>
          </a:prstGeom>
          <a:noFill/>
        </p:spPr>
        <p:txBody>
          <a:bodyPr wrap="square" lIns="0" tIns="0" rIns="0" bIns="0" rtlCol="0" anchor="t">
            <a:spAutoFit/>
          </a:bodyPr>
          <a:lstStyle/>
          <a:p>
            <a:pPr algn="l" rtl="0"/>
            <a:r>
              <a:rPr lang="fr-fr" sz="800" b="0" i="0" u="none" baseline="30000" dirty="0"/>
              <a:t>*</a:t>
            </a:r>
            <a:r>
              <a:rPr lang="fr-fr" sz="800" b="0" i="0" u="none" baseline="0" dirty="0"/>
              <a:t>Les prix sont valables à partir du 24 octobre 2018 et peuvent changer. Des tarifs régionaux et des programmes de remise peuvent s</a:t>
            </a:r>
            <a:r>
              <a:rPr lang="fr-FR" sz="800" b="0" i="0" u="none" baseline="0" dirty="0"/>
              <a:t>’</a:t>
            </a:r>
            <a:r>
              <a:rPr lang="fr-fr" sz="800" b="0" i="0" u="none" baseline="0" dirty="0"/>
              <a:t>appliquer. Les économies réelles peuvent varier en fonction de la région, de la taille d</a:t>
            </a:r>
            <a:r>
              <a:rPr lang="fr-FR" sz="800" b="0" i="0" u="none" baseline="0" dirty="0"/>
              <a:t>’</a:t>
            </a:r>
            <a:r>
              <a:rPr lang="fr-fr" sz="800" b="0" i="0" u="none" baseline="0" dirty="0"/>
              <a:t>instance et du niveau de performance. Les économies excluent les coûts de Software Assurance qui peuvent varier selon le contrat de licences en volume. Pour plus d</a:t>
            </a:r>
            <a:r>
              <a:rPr lang="fr-FR" sz="800" b="0" i="0" u="none" baseline="0" dirty="0"/>
              <a:t>’</a:t>
            </a:r>
            <a:r>
              <a:rPr lang="fr-fr" sz="800" b="0" i="0" u="none" baseline="0" dirty="0"/>
              <a:t>informations, veuillez contacter votre représentant commercial.</a:t>
            </a:r>
            <a:endParaRPr lang="fr-fr" sz="800" b="0" i="0" u="none" baseline="0" dirty="0">
              <a:cs typeface="Segoe UI"/>
            </a:endParaRPr>
          </a:p>
        </p:txBody>
      </p:sp>
      <p:sp>
        <p:nvSpPr>
          <p:cNvPr id="64" name="Freeform: Shape 63">
            <a:extLst>
              <a:ext uri="{FF2B5EF4-FFF2-40B4-BE49-F238E27FC236}">
                <a16:creationId xmlns:a16="http://schemas.microsoft.com/office/drawing/2014/main" id="{9B3314C1-42F9-48A7-94A5-8F79DBBBE59B}"/>
              </a:ext>
            </a:extLst>
          </p:cNvPr>
          <p:cNvSpPr/>
          <p:nvPr/>
        </p:nvSpPr>
        <p:spPr bwMode="auto">
          <a:xfrm rot="5400000">
            <a:off x="3679917" y="8954908"/>
            <a:ext cx="258077" cy="6687902"/>
          </a:xfrm>
          <a:custGeom>
            <a:avLst/>
            <a:gdLst>
              <a:gd name="connsiteX0" fmla="*/ 0 w 0"/>
              <a:gd name="connsiteY0" fmla="*/ 0 h 609600"/>
              <a:gd name="connsiteX1" fmla="*/ 0 w 0"/>
              <a:gd name="connsiteY1" fmla="*/ 609600 h 609600"/>
            </a:gdLst>
            <a:ahLst/>
            <a:cxnLst>
              <a:cxn ang="0">
                <a:pos x="connsiteX0" y="connsiteY0"/>
              </a:cxn>
              <a:cxn ang="0">
                <a:pos x="connsiteX1" y="connsiteY1"/>
              </a:cxn>
            </a:cxnLst>
            <a:rect l="l" t="t" r="r" b="b"/>
            <a:pathLst>
              <a:path h="609600">
                <a:moveTo>
                  <a:pt x="0" y="0"/>
                </a:moveTo>
                <a:lnTo>
                  <a:pt x="0" y="609600"/>
                </a:lnTo>
              </a:path>
            </a:pathLst>
          </a:cu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rtl="0"/>
            <a:endParaRPr lang="fr-fr" sz="1650" dirty="0">
              <a:cs typeface="Segoe UI"/>
            </a:endParaRPr>
          </a:p>
        </p:txBody>
      </p:sp>
      <p:sp>
        <p:nvSpPr>
          <p:cNvPr id="5" name="TextBox 4">
            <a:extLst>
              <a:ext uri="{FF2B5EF4-FFF2-40B4-BE49-F238E27FC236}">
                <a16:creationId xmlns:a16="http://schemas.microsoft.com/office/drawing/2014/main" id="{4BAA39A1-D312-4A48-8FC7-FABA1F1B92D7}"/>
              </a:ext>
            </a:extLst>
          </p:cNvPr>
          <p:cNvSpPr txBox="1"/>
          <p:nvPr/>
        </p:nvSpPr>
        <p:spPr>
          <a:xfrm>
            <a:off x="596024" y="12167478"/>
            <a:ext cx="1022350" cy="677108"/>
          </a:xfrm>
          <a:prstGeom prst="rect">
            <a:avLst/>
          </a:prstGeom>
          <a:noFill/>
        </p:spPr>
        <p:txBody>
          <a:bodyPr wrap="square" lIns="0" tIns="0" rIns="0" bIns="0" rtlCol="0" anchor="t">
            <a:spAutoFit/>
          </a:bodyPr>
          <a:lstStyle/>
          <a:p>
            <a:pPr algn="l"/>
            <a:r>
              <a:rPr lang="en-US" sz="4400" b="1" dirty="0">
                <a:solidFill>
                  <a:schemeClr val="accent1"/>
                </a:solidFill>
                <a:latin typeface="Segoe UI Symbol"/>
                <a:ea typeface="Segoe UI Symbol"/>
              </a:rPr>
              <a:t>«</a:t>
            </a:r>
            <a:endParaRPr lang="en-US" sz="4400" b="1">
              <a:solidFill>
                <a:schemeClr val="accent1"/>
              </a:solidFill>
              <a:latin typeface="Segoe UI Symbol"/>
              <a:ea typeface="Segoe UI Symbol"/>
              <a:cs typeface="Segoe UI"/>
            </a:endParaRPr>
          </a:p>
        </p:txBody>
      </p:sp>
      <p:sp>
        <p:nvSpPr>
          <p:cNvPr id="65" name="TextBox 64">
            <a:extLst>
              <a:ext uri="{FF2B5EF4-FFF2-40B4-BE49-F238E27FC236}">
                <a16:creationId xmlns:a16="http://schemas.microsoft.com/office/drawing/2014/main" id="{C480DCC7-AB92-4F01-A2DD-5F0969238980}"/>
              </a:ext>
            </a:extLst>
          </p:cNvPr>
          <p:cNvSpPr txBox="1"/>
          <p:nvPr/>
        </p:nvSpPr>
        <p:spPr>
          <a:xfrm>
            <a:off x="4901937" y="12911667"/>
            <a:ext cx="1022350" cy="677108"/>
          </a:xfrm>
          <a:prstGeom prst="rect">
            <a:avLst/>
          </a:prstGeom>
          <a:noFill/>
        </p:spPr>
        <p:txBody>
          <a:bodyPr wrap="square" lIns="0" tIns="0" rIns="0" bIns="0" rtlCol="0" anchor="t">
            <a:spAutoFit/>
          </a:bodyPr>
          <a:lstStyle/>
          <a:p>
            <a:pPr algn="l"/>
            <a:r>
              <a:rPr lang="en-US" sz="4400" b="1" dirty="0">
                <a:solidFill>
                  <a:schemeClr val="accent1"/>
                </a:solidFill>
                <a:latin typeface="Segoe UI Symbol"/>
                <a:ea typeface="Segoe UI Symbol"/>
              </a:rPr>
              <a:t>»</a:t>
            </a:r>
            <a:endParaRPr lang="en-US" sz="4400" b="1">
              <a:solidFill>
                <a:schemeClr val="accent1"/>
              </a:solidFill>
              <a:latin typeface="Segoe UI Symbol"/>
              <a:ea typeface="Segoe UI Symbol"/>
              <a:cs typeface="Segoe UI"/>
            </a:endParaRPr>
          </a:p>
        </p:txBody>
      </p:sp>
    </p:spTree>
    <p:extLst>
      <p:ext uri="{BB962C8B-B14F-4D97-AF65-F5344CB8AC3E}">
        <p14:creationId xmlns:p14="http://schemas.microsoft.com/office/powerpoint/2010/main" val="41622871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3BC782-4A06-498C-B87A-774AF2CF606D}">
  <ds:schemaRefs>
    <ds:schemaRef ds:uri="http://purl.org/dc/dcmitype/"/>
    <ds:schemaRef ds:uri="7a20bb1a-2526-436b-a0aa-406322af6dcc"/>
    <ds:schemaRef ds:uri="http://schemas.microsoft.com/office/2006/documentManagement/types"/>
    <ds:schemaRef ds:uri="http://schemas.microsoft.com/office/2006/metadata/properties"/>
    <ds:schemaRef ds:uri="http://purl.org/dc/elements/1.1/"/>
    <ds:schemaRef ds:uri="http://purl.org/dc/terms/"/>
    <ds:schemaRef ds:uri="http://www.w3.org/XML/1998/namespace"/>
    <ds:schemaRef ds:uri="http://schemas.microsoft.com/office/infopath/2007/PartnerControls"/>
    <ds:schemaRef ds:uri="http://schemas.openxmlformats.org/package/2006/metadata/core-properties"/>
    <ds:schemaRef ds:uri="0c1a6c9c-f016-4857-bf43-21b252e701d9"/>
  </ds:schemaRefs>
</ds:datastoreItem>
</file>

<file path=customXml/itemProps2.xml><?xml version="1.0" encoding="utf-8"?>
<ds:datastoreItem xmlns:ds="http://schemas.openxmlformats.org/officeDocument/2006/customXml" ds:itemID="{94866A8F-5900-4C31-84DB-6148C6377477}">
  <ds:schemaRefs>
    <ds:schemaRef ds:uri="http://schemas.microsoft.com/sharepoint/v3/contenttype/forms"/>
  </ds:schemaRefs>
</ds:datastoreItem>
</file>

<file path=customXml/itemProps3.xml><?xml version="1.0" encoding="utf-8"?>
<ds:datastoreItem xmlns:ds="http://schemas.openxmlformats.org/officeDocument/2006/customXml" ds:itemID="{33731442-C8F3-418F-A0A4-1D4B26B9A958}"/>
</file>

<file path=docProps/app.xml><?xml version="1.0" encoding="utf-8"?>
<Properties xmlns="http://schemas.openxmlformats.org/officeDocument/2006/extended-properties" xmlns:vt="http://schemas.openxmlformats.org/officeDocument/2006/docPropsVTypes">
  <Template/>
  <TotalTime>52735</TotalTime>
  <Words>253</Words>
  <Application>Microsoft Office PowerPoint</Application>
  <PresentationFormat>Custom</PresentationFormat>
  <Paragraphs>18</Paragraphs>
  <Slides>1</Slides>
  <Notes>1</Notes>
  <HiddenSlides>0</HiddenSlides>
  <MMClips>0</MMClip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White Templat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lastModifiedBy>Acclaro Thailand Notebook02</cp:lastModifiedBy>
  <cp:revision>1628</cp:revision>
  <cp:lastPrinted>2013-10-01T16:28:23Z</cp:lastPrinted>
  <dcterms:created xsi:type="dcterms:W3CDTF">2020-06-11T18:28:25Z</dcterms:created>
  <dcterms:modified xsi:type="dcterms:W3CDTF">2020-07-29T23:1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Order">
    <vt:r8>5258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TemplateUrl">
    <vt:lpwstr/>
  </property>
  <property fmtid="{D5CDD505-2E9C-101B-9397-08002B2CF9AE}" pid="9" name="ComplianceAssetId">
    <vt:lpwstr/>
  </property>
</Properties>
</file>